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3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6" r:id="rId1"/>
    <p:sldMasterId id="2147483735" r:id="rId2"/>
    <p:sldMasterId id="2147483771" r:id="rId3"/>
    <p:sldMasterId id="2147483838" r:id="rId4"/>
  </p:sldMasterIdLst>
  <p:notesMasterIdLst>
    <p:notesMasterId r:id="rId52"/>
  </p:notesMasterIdLst>
  <p:handoutMasterIdLst>
    <p:handoutMasterId r:id="rId53"/>
  </p:handoutMasterIdLst>
  <p:sldIdLst>
    <p:sldId id="625" r:id="rId5"/>
    <p:sldId id="259" r:id="rId6"/>
    <p:sldId id="2966" r:id="rId7"/>
    <p:sldId id="2957" r:id="rId8"/>
    <p:sldId id="522" r:id="rId9"/>
    <p:sldId id="457" r:id="rId10"/>
    <p:sldId id="458" r:id="rId11"/>
    <p:sldId id="459" r:id="rId12"/>
    <p:sldId id="461" r:id="rId13"/>
    <p:sldId id="465" r:id="rId14"/>
    <p:sldId id="466" r:id="rId15"/>
    <p:sldId id="827" r:id="rId16"/>
    <p:sldId id="468" r:id="rId17"/>
    <p:sldId id="291" r:id="rId18"/>
    <p:sldId id="524" r:id="rId19"/>
    <p:sldId id="474" r:id="rId20"/>
    <p:sldId id="400" r:id="rId21"/>
    <p:sldId id="401" r:id="rId22"/>
    <p:sldId id="402" r:id="rId23"/>
    <p:sldId id="418" r:id="rId24"/>
    <p:sldId id="2967" r:id="rId25"/>
    <p:sldId id="895" r:id="rId26"/>
    <p:sldId id="896" r:id="rId27"/>
    <p:sldId id="897" r:id="rId28"/>
    <p:sldId id="809" r:id="rId29"/>
    <p:sldId id="937" r:id="rId30"/>
    <p:sldId id="2968" r:id="rId31"/>
    <p:sldId id="685" r:id="rId32"/>
    <p:sldId id="2969" r:id="rId33"/>
    <p:sldId id="403" r:id="rId34"/>
    <p:sldId id="381" r:id="rId35"/>
    <p:sldId id="472" r:id="rId36"/>
    <p:sldId id="715" r:id="rId37"/>
    <p:sldId id="2959" r:id="rId38"/>
    <p:sldId id="2970" r:id="rId39"/>
    <p:sldId id="2971" r:id="rId40"/>
    <p:sldId id="2972" r:id="rId41"/>
    <p:sldId id="2973" r:id="rId42"/>
    <p:sldId id="2974" r:id="rId43"/>
    <p:sldId id="2975" r:id="rId44"/>
    <p:sldId id="672" r:id="rId45"/>
    <p:sldId id="707" r:id="rId46"/>
    <p:sldId id="678" r:id="rId47"/>
    <p:sldId id="717" r:id="rId48"/>
    <p:sldId id="941" r:id="rId49"/>
    <p:sldId id="325" r:id="rId50"/>
    <p:sldId id="344" r:id="rId5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1727E"/>
    <a:srgbClr val="2E686C"/>
    <a:srgbClr val="56504B"/>
    <a:srgbClr val="67605B"/>
    <a:srgbClr val="79726D"/>
    <a:srgbClr val="8B8580"/>
    <a:srgbClr val="FCFBFA"/>
    <a:srgbClr val="E5DBBE"/>
    <a:srgbClr val="41817E"/>
    <a:srgbClr val="4F86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625" autoAdjust="0"/>
    <p:restoredTop sz="94605"/>
  </p:normalViewPr>
  <p:slideViewPr>
    <p:cSldViewPr snapToGrid="0">
      <p:cViewPr varScale="1">
        <p:scale>
          <a:sx n="103" d="100"/>
          <a:sy n="103" d="100"/>
        </p:scale>
        <p:origin x="168" y="720"/>
      </p:cViewPr>
      <p:guideLst/>
    </p:cSldViewPr>
  </p:slideViewPr>
  <p:outlineViewPr>
    <p:cViewPr>
      <p:scale>
        <a:sx n="33" d="100"/>
        <a:sy n="33" d="100"/>
      </p:scale>
      <p:origin x="0" y="-1217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6" d="100"/>
          <a:sy n="136" d="100"/>
        </p:scale>
        <p:origin x="307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ableStyles" Target="tableStyle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EEA5244-BC3A-7A4D-B9E6-B928720290E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25B08D4-33FD-AB4E-971F-C23E61AE924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8FAACF-FE80-3045-A52B-C9F476AFAC98}" type="datetime1">
              <a:t>13/4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A749FB-11A2-4844-A3E2-6409BDCA471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E54BFF-84E0-DD4D-AA95-90004118958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63F28C-7873-F94D-89B6-7E3636EF757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265067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A7B521-A6BB-8943-A483-BC51E6FD688D}" type="datetime1">
              <a:t>13/4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CC16FB-9D68-C74B-AABD-CDFC2ED74F2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88842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2588" y="381000"/>
            <a:ext cx="4572000" cy="25733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42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dirty="0"/>
          </a:p>
        </p:txBody>
      </p:sp>
      <p:sp>
        <p:nvSpPr>
          <p:cNvPr id="9421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85353" indent="-302059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208236" indent="-241648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91530" indent="-241648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174825" indent="-241648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658119" indent="-24164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141414" indent="-24164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624707" indent="-24164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108003" indent="-24164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AB670AC1-0944-48EB-BCFC-096620A08B4A}" type="slidenum">
              <a:rPr lang="en-US" altLang="en-US"/>
              <a:pPr/>
              <a:t>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270982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en-US" dirty="0"/>
              <a:t>But if you want the</a:t>
            </a:r>
            <a:r>
              <a:rPr lang="en-US" baseline="0" dirty="0"/>
              <a:t> granularity of a per-PDB upgrade, it can be done by unplug/plug into a second CDB, upgraded to the required level. </a:t>
            </a: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o applications can be upgraded</a:t>
            </a:r>
            <a:r>
              <a:rPr lang="en-US" baseline="0" dirty="0"/>
              <a:t> as and when they’re ready. </a:t>
            </a:r>
          </a:p>
          <a:p>
            <a:pPr marL="0" indent="0">
              <a:buFontTx/>
              <a:buNone/>
            </a:pPr>
            <a:r>
              <a:rPr lang="en-US" baseline="0" dirty="0"/>
              <a:t>[click]</a:t>
            </a:r>
          </a:p>
          <a:p>
            <a:pPr marL="0" indent="0">
              <a:buFontTx/>
              <a:buNone/>
            </a:pPr>
            <a:r>
              <a:rPr lang="en-US" baseline="0" dirty="0"/>
              <a:t>In this example, </a:t>
            </a:r>
            <a:r>
              <a:rPr lang="en-US" dirty="0"/>
              <a:t>GL never moves to 19.4.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So, along with the advantages of managing many as one, </a:t>
            </a:r>
          </a:p>
          <a:p>
            <a:pPr marL="0" indent="0">
              <a:buFontTx/>
              <a:buNone/>
            </a:pPr>
            <a:r>
              <a:rPr lang="en-US" dirty="0"/>
              <a:t>we’re beginning to see examples of the agility afforded</a:t>
            </a:r>
            <a:r>
              <a:rPr lang="en-US" baseline="0" dirty="0"/>
              <a:t> by the new multitenant architecture. </a:t>
            </a:r>
          </a:p>
          <a:p>
            <a:pPr marL="0" indent="0">
              <a:buFontTx/>
              <a:buNone/>
            </a:pPr>
            <a:r>
              <a:rPr lang="en-US" baseline="0" dirty="0"/>
              <a:t>With other consolidation strategies there’s typically been a trade-off between managing many as one and agility.</a:t>
            </a:r>
          </a:p>
          <a:p>
            <a:pPr marL="0" indent="0">
              <a:buFontTx/>
              <a:buNone/>
            </a:pPr>
            <a:r>
              <a:rPr lang="en-US" baseline="0" dirty="0"/>
              <a:t>With Multitenant, there is no such trade-off. We can reduce operating expenses by managing many as one, and increase agility at the same time. </a:t>
            </a:r>
            <a:endParaRPr lang="en-US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…and here we transition to this</a:t>
            </a:r>
            <a:r>
              <a:rPr lang="en-US" baseline="0" dirty="0"/>
              <a:t> third major benefit of Multitenant…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[click for next slide]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E0DC3D-6FE0-B542-8D21-8BAC2C7AB9E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6869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100" b="1" i="0" u="none" strike="noStrike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Automatic Database Diagnostic Monitor (ADDM) Support for Pluggable Databases (PDBs)</a:t>
            </a:r>
          </a:p>
          <a:p>
            <a:r>
              <a:rPr lang="en-US" sz="1100" b="0" i="0" u="none" strike="noStrike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You can now use ADDM analysis for PDBs in a multitenant environment.</a:t>
            </a:r>
          </a:p>
          <a:p>
            <a:r>
              <a:rPr lang="en-US" sz="1100" b="0" i="0" u="none" strike="noStrike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ADDM analysis at a PDB level enables you to tune a PDB effectively for better performance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72D9AE-7182-4680-8F79-479C4181FF08}" type="slidenum">
              <a:rPr lang="uk-UA" smtClean="0"/>
              <a:pPr/>
              <a:t>14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3766804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0000" lnSpcReduction="20000"/>
          </a:bodyPr>
          <a:lstStyle/>
          <a:p>
            <a:r>
              <a:rPr lang="en-US" dirty="0"/>
              <a:t>In 12.2, we</a:t>
            </a:r>
            <a:r>
              <a:rPr lang="en-US" baseline="0" dirty="0"/>
              <a:t> have some fantastic new functionality in the area of SaaS.</a:t>
            </a:r>
          </a:p>
          <a:p>
            <a:endParaRPr lang="en-US" baseline="0" dirty="0"/>
          </a:p>
          <a:p>
            <a:r>
              <a:rPr lang="en-US" baseline="0" dirty="0"/>
              <a:t>As previously discussed, in release 12.1 Multitenant delivered an instant SaaS architecture for previously on </a:t>
            </a:r>
            <a:r>
              <a:rPr lang="en-US" baseline="0" dirty="0" err="1"/>
              <a:t>prem</a:t>
            </a:r>
            <a:r>
              <a:rPr lang="en-US" baseline="0" dirty="0"/>
              <a:t> applications.</a:t>
            </a:r>
          </a:p>
          <a:p>
            <a:r>
              <a:rPr lang="en-US" baseline="0" dirty="0"/>
              <a:t>This is great because each tenant is isolated within a self-contained PDB</a:t>
            </a:r>
          </a:p>
          <a:p>
            <a:r>
              <a:rPr lang="en-US" baseline="0" dirty="0"/>
              <a:t>But many such tenants can be supported in a singe CDB, delivering all the benefits of consolidation with Multitenant.</a:t>
            </a:r>
          </a:p>
          <a:p>
            <a:endParaRPr lang="en-US" baseline="0" dirty="0"/>
          </a:p>
          <a:p>
            <a:pPr marL="0" marR="0" indent="0" algn="l" defTabSz="91433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=======================================================================================================</a:t>
            </a:r>
          </a:p>
          <a:p>
            <a:r>
              <a:rPr lang="en-US" baseline="0" dirty="0"/>
              <a:t>No need to restate benefits if you include the standard benefits slide.</a:t>
            </a:r>
          </a:p>
          <a:p>
            <a:pPr marL="0" marR="0" indent="0" algn="l" defTabSz="91433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=======================================================================================================</a:t>
            </a:r>
            <a:endParaRPr lang="en-US" baseline="0" dirty="0"/>
          </a:p>
          <a:p>
            <a:pPr marL="171450" indent="-171450">
              <a:buFont typeface="Arial" charset="0"/>
              <a:buChar char="•"/>
            </a:pPr>
            <a:r>
              <a:rPr lang="en-US" baseline="0" dirty="0"/>
              <a:t>Reduced </a:t>
            </a:r>
            <a:r>
              <a:rPr lang="en-US" baseline="0" dirty="0" err="1"/>
              <a:t>CapEx</a:t>
            </a:r>
            <a:r>
              <a:rPr lang="en-US" baseline="0" dirty="0"/>
              <a:t> because you can consolidate more tenants per server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/>
              <a:t>Reduced </a:t>
            </a:r>
            <a:r>
              <a:rPr lang="en-US" baseline="0" dirty="0" err="1"/>
              <a:t>OpEx</a:t>
            </a:r>
            <a:r>
              <a:rPr lang="en-US" baseline="0" dirty="0"/>
              <a:t> because you can manage many tenants as one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/>
              <a:t>Increased agility, through ease of provisioning, tenant migration, etc.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/>
              <a:t>And it’s easy to adopt because applications run unchanged. </a:t>
            </a:r>
          </a:p>
          <a:p>
            <a:pPr marL="0" marR="0" indent="0" algn="l" defTabSz="91433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=======================================================================================================</a:t>
            </a:r>
          </a:p>
          <a:p>
            <a:r>
              <a:rPr lang="en-US" baseline="0" dirty="0"/>
              <a:t>No need to restate benefits if you include the standard benefits slide.</a:t>
            </a:r>
          </a:p>
          <a:p>
            <a:pPr marL="0" marR="0" indent="0" algn="l" defTabSz="91433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=======================================================================================================</a:t>
            </a:r>
            <a:endParaRPr lang="en-US" baseline="0" dirty="0"/>
          </a:p>
          <a:p>
            <a:endParaRPr lang="en-US" baseline="0" dirty="0"/>
          </a:p>
          <a:p>
            <a:r>
              <a:rPr lang="en-US" baseline="0" dirty="0"/>
              <a:t>What happens, though, when a new version of an application comes along? </a:t>
            </a:r>
          </a:p>
          <a:p>
            <a:r>
              <a:rPr lang="en-US" baseline="0" dirty="0"/>
              <a:t>We have to upgrade the application definition in each tenant PDB. </a:t>
            </a:r>
          </a:p>
          <a:p>
            <a:r>
              <a:rPr lang="en-US" baseline="0" dirty="0"/>
              <a:t>There are tools to help automate this, but it’s still a rather cumbersome process.</a:t>
            </a:r>
          </a:p>
          <a:p>
            <a:endParaRPr lang="en-US" baseline="0" dirty="0"/>
          </a:p>
          <a:p>
            <a:r>
              <a:rPr lang="en-US" baseline="0" dirty="0"/>
              <a:t>What we wanted to do is to extend this benefit of “manage many as one” from the DBA to the application administrator. </a:t>
            </a:r>
          </a:p>
          <a:p>
            <a:endParaRPr lang="en-US" baseline="0" dirty="0"/>
          </a:p>
          <a:p>
            <a:r>
              <a:rPr lang="en-US" baseline="0" dirty="0"/>
              <a:t>For this, we introduce a new concept – Application container.</a:t>
            </a:r>
          </a:p>
          <a:p>
            <a:r>
              <a:rPr lang="en-US" baseline="0" dirty="0"/>
              <a:t>[Click]</a:t>
            </a:r>
          </a:p>
          <a:p>
            <a:endParaRPr lang="en-US" baseline="0" dirty="0"/>
          </a:p>
          <a:p>
            <a:r>
              <a:rPr lang="en-US" baseline="0" dirty="0"/>
              <a:t>An application container is made up of: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/>
              <a:t>An application root. This is the repository for the master application definition.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/>
              <a:t>There are application PDBs for each tenant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/>
              <a:t>And an application seed, for provisioning new tenants. </a:t>
            </a:r>
          </a:p>
          <a:p>
            <a:pPr marL="0" indent="0">
              <a:buFont typeface="Arial" charset="0"/>
              <a:buNone/>
            </a:pPr>
            <a:endParaRPr lang="en-US" baseline="0" dirty="0"/>
          </a:p>
          <a:p>
            <a:pPr marL="0" indent="0">
              <a:buFont typeface="Arial" charset="0"/>
              <a:buNone/>
            </a:pPr>
            <a:r>
              <a:rPr lang="en-US" baseline="0" dirty="0"/>
              <a:t>Now the application is defined once only in a central location – application root. Think of this as a master application definition.</a:t>
            </a:r>
          </a:p>
          <a:p>
            <a:pPr marL="0" indent="0">
              <a:buFont typeface="Arial" charset="0"/>
              <a:buNone/>
            </a:pPr>
            <a:r>
              <a:rPr lang="en-US" baseline="0" dirty="0"/>
              <a:t>The various tenant PDBs or application PDBs share application objects – such as code, metadata and data – from the application root. </a:t>
            </a:r>
          </a:p>
          <a:p>
            <a:pPr marL="0" indent="0">
              <a:buFont typeface="Arial" charset="0"/>
              <a:buNone/>
            </a:pPr>
            <a:r>
              <a:rPr lang="en-US" baseline="0" dirty="0"/>
              <a:t>We can create an application seed, from which new tenant PDBs can simply be created. </a:t>
            </a:r>
          </a:p>
          <a:p>
            <a:pPr marL="0" indent="0">
              <a:buFont typeface="Arial" charset="0"/>
              <a:buNone/>
            </a:pPr>
            <a:endParaRPr lang="en-US" baseline="0" dirty="0"/>
          </a:p>
          <a:p>
            <a:pPr marL="0" indent="0">
              <a:buFont typeface="Arial" charset="0"/>
              <a:buNone/>
            </a:pPr>
            <a:r>
              <a:rPr lang="en-US" baseline="0" dirty="0"/>
              <a:t>Now, when a new version of the application is available, we upgrade this central master application definition in Application root.</a:t>
            </a:r>
          </a:p>
          <a:p>
            <a:pPr marL="0" indent="0">
              <a:buFont typeface="Arial" charset="0"/>
              <a:buNone/>
            </a:pPr>
            <a:r>
              <a:rPr lang="en-US" baseline="0" dirty="0"/>
              <a:t>It’s then a simple process to sync the various tenants with this new master definition.</a:t>
            </a:r>
          </a:p>
          <a:p>
            <a:pPr marL="0" indent="0">
              <a:buFont typeface="Arial" charset="0"/>
              <a:buNone/>
            </a:pPr>
            <a:endParaRPr lang="en-US" baseline="0" dirty="0"/>
          </a:p>
          <a:p>
            <a:pPr marL="0" indent="0">
              <a:buFont typeface="Arial" charset="0"/>
              <a:buNone/>
            </a:pPr>
            <a:r>
              <a:rPr lang="en-US" baseline="0" dirty="0"/>
              <a:t>Now, before you think, “that’s cool, but it’s not for me”, think again. </a:t>
            </a:r>
          </a:p>
          <a:p>
            <a:pPr marL="0" indent="0">
              <a:buFont typeface="Arial" charset="0"/>
              <a:buNone/>
            </a:pPr>
            <a:r>
              <a:rPr lang="en-US" baseline="0" dirty="0"/>
              <a:t>For one thing, the use of SaaS type applications extends beyond classic SaaS vendors.</a:t>
            </a:r>
          </a:p>
          <a:p>
            <a:pPr marL="0" indent="0">
              <a:buFont typeface="Arial" charset="0"/>
              <a:buNone/>
            </a:pPr>
            <a:r>
              <a:rPr lang="en-US" baseline="0" dirty="0"/>
              <a:t>Good examples include franchises, such as fast food restaurants, cafes, fro-</a:t>
            </a:r>
            <a:r>
              <a:rPr lang="en-US" baseline="0" dirty="0" err="1"/>
              <a:t>yo</a:t>
            </a:r>
            <a:r>
              <a:rPr lang="en-US" baseline="0" dirty="0"/>
              <a:t> shops.</a:t>
            </a:r>
          </a:p>
          <a:p>
            <a:pPr marL="0" indent="0">
              <a:buFont typeface="Arial" charset="0"/>
              <a:buNone/>
            </a:pPr>
            <a:endParaRPr lang="en-US" baseline="0" dirty="0"/>
          </a:p>
          <a:p>
            <a:pPr marL="0" marR="0" indent="0" algn="l" defTabSz="91433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=======================================================================================================</a:t>
            </a:r>
          </a:p>
          <a:p>
            <a:r>
              <a:rPr lang="en-US" baseline="0"/>
              <a:t>Lengthier text. </a:t>
            </a:r>
            <a:endParaRPr lang="en-US" baseline="0" dirty="0"/>
          </a:p>
          <a:p>
            <a:pPr marL="0" marR="0" indent="0" algn="l" defTabSz="91433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=======================================================================================================</a:t>
            </a:r>
            <a:endParaRPr lang="en-US" baseline="0" dirty="0"/>
          </a:p>
          <a:p>
            <a:pPr marL="0" indent="0">
              <a:buFont typeface="Arial" charset="0"/>
              <a:buNone/>
            </a:pPr>
            <a:r>
              <a:rPr lang="en-US" baseline="0" dirty="0"/>
              <a:t>Other examples are things like car dealerships. Anywhere you have a common operating model but independent franchisees lends itself very well to Application Container.</a:t>
            </a:r>
          </a:p>
          <a:p>
            <a:pPr marL="0" indent="0">
              <a:buFont typeface="Arial" charset="0"/>
              <a:buNone/>
            </a:pPr>
            <a:endParaRPr lang="en-US" baseline="0" dirty="0"/>
          </a:p>
          <a:p>
            <a:pPr marL="0" indent="0">
              <a:buFont typeface="Arial" charset="0"/>
              <a:buNone/>
            </a:pPr>
            <a:r>
              <a:rPr lang="en-US" baseline="0" dirty="0"/>
              <a:t>Application container allows you to share common meta data and data.</a:t>
            </a:r>
          </a:p>
          <a:p>
            <a:pPr marL="0" indent="0">
              <a:buFont typeface="Arial" charset="0"/>
              <a:buNone/>
            </a:pPr>
            <a:r>
              <a:rPr lang="en-US" baseline="0" dirty="0"/>
              <a:t>Many application architectures include a common module, whose definition and/or common data can be shared in this way.</a:t>
            </a:r>
          </a:p>
          <a:p>
            <a:pPr marL="0" indent="0">
              <a:buFont typeface="Arial" charset="0"/>
              <a:buNone/>
            </a:pPr>
            <a:endParaRPr lang="en-US" baseline="0" dirty="0"/>
          </a:p>
          <a:p>
            <a:pPr marL="0" indent="0">
              <a:buFont typeface="Arial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72D9AE-7182-4680-8F79-479C4181FF08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2748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baseline="0" dirty="0"/>
              <a:t>need to p</a:t>
            </a:r>
            <a:r>
              <a:rPr lang="en-US" dirty="0"/>
              <a:t>rovision databases</a:t>
            </a:r>
            <a:r>
              <a:rPr lang="en-US" baseline="0" dirty="0"/>
              <a:t> is a constant challenge for DBAs. </a:t>
            </a:r>
          </a:p>
          <a:p>
            <a:endParaRPr lang="en-US" baseline="0" dirty="0"/>
          </a:p>
          <a:p>
            <a:r>
              <a:rPr lang="en-US" dirty="0"/>
              <a:t>In Oracle</a:t>
            </a:r>
            <a:r>
              <a:rPr lang="en-US" baseline="0" dirty="0"/>
              <a:t> Multitenant, we greatly simplify the process of database provisioning via cloning of existing databases. </a:t>
            </a:r>
          </a:p>
          <a:p>
            <a:r>
              <a:rPr lang="en-US" baseline="0" dirty="0"/>
              <a:t>[click]-</a:t>
            </a:r>
            <a:endParaRPr lang="en-US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[click]-</a:t>
            </a:r>
            <a:endParaRPr lang="en-US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[click]-</a:t>
            </a:r>
            <a:endParaRPr lang="en-US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[click]-</a:t>
            </a:r>
            <a:endParaRPr lang="en-US" dirty="0"/>
          </a:p>
          <a:p>
            <a:r>
              <a:rPr lang="en-US" dirty="0"/>
              <a:t>And read slide as you go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E0DC3D-6FE0-B542-8D21-8BAC2C7AB9E9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96136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What’s illustrated here is a typical lifecycle management (or LCM) situation</a:t>
            </a:r>
          </a:p>
          <a:p>
            <a:r>
              <a:rPr lang="en-US" dirty="0"/>
              <a:t>In a hybrid cloud configuration.</a:t>
            </a:r>
          </a:p>
          <a:p>
            <a:endParaRPr lang="en-US" dirty="0"/>
          </a:p>
          <a:p>
            <a:r>
              <a:rPr lang="en-US" dirty="0"/>
              <a:t>There are three production PDBs running in a highly efficient consolidated environment on premises.</a:t>
            </a:r>
          </a:p>
          <a:p>
            <a:r>
              <a:rPr lang="en-US" dirty="0"/>
              <a:t>Development and testing has shifted to the cloud.</a:t>
            </a:r>
          </a:p>
          <a:p>
            <a:r>
              <a:rPr lang="en-US" dirty="0"/>
              <a:t>The requirement is to set up a golden master database in the cloud</a:t>
            </a:r>
          </a:p>
          <a:p>
            <a:r>
              <a:rPr lang="en-US" dirty="0"/>
              <a:t>From which members of the development team can provision their own isolated environments.</a:t>
            </a:r>
          </a:p>
          <a:p>
            <a:endParaRPr lang="en-US" dirty="0"/>
          </a:p>
          <a:p>
            <a:r>
              <a:rPr lang="en-US" dirty="0"/>
              <a:t>Let’s consider the requirements in turn.</a:t>
            </a:r>
          </a:p>
          <a:p>
            <a:r>
              <a:rPr lang="en-US" dirty="0"/>
              <a:t>The fundamental capability here is online cloning, also known as hot cloning.</a:t>
            </a:r>
          </a:p>
          <a:p>
            <a:endParaRPr lang="en-US" dirty="0"/>
          </a:p>
          <a:p>
            <a:r>
              <a:rPr lang="en-US" dirty="0"/>
              <a:t>[click]</a:t>
            </a:r>
          </a:p>
          <a:p>
            <a:r>
              <a:rPr lang="en-US" baseline="0" dirty="0"/>
              <a:t>From the perspective of this video series – high availability – </a:t>
            </a:r>
          </a:p>
          <a:p>
            <a:r>
              <a:rPr lang="en-US" baseline="0" dirty="0"/>
              <a:t>The key thing is to set up the golden master without taking an outage in production.</a:t>
            </a:r>
          </a:p>
          <a:p>
            <a:r>
              <a:rPr lang="en-US" dirty="0"/>
              <a:t>This is why it is so important to be able to do a hot clone – </a:t>
            </a:r>
          </a:p>
          <a:p>
            <a:r>
              <a:rPr lang="en-US" dirty="0"/>
              <a:t>taken while the source PDB is still open</a:t>
            </a:r>
            <a:r>
              <a:rPr lang="en-US" baseline="0" dirty="0"/>
              <a:t> read-write. </a:t>
            </a:r>
          </a:p>
          <a:p>
            <a:endParaRPr lang="en-US" baseline="0" dirty="0"/>
          </a:p>
          <a:p>
            <a:r>
              <a:rPr lang="en-US" baseline="0" dirty="0"/>
              <a:t>No application outage is required for a hot clone – </a:t>
            </a:r>
          </a:p>
          <a:p>
            <a:endParaRPr lang="en-US" baseline="0" dirty="0"/>
          </a:p>
          <a:p>
            <a:r>
              <a:rPr lang="en-US" baseline="0" dirty="0"/>
              <a:t>[click]</a:t>
            </a:r>
          </a:p>
          <a:p>
            <a:r>
              <a:rPr lang="en-US" baseline="0" dirty="0"/>
              <a:t>Individual developers can provision their own </a:t>
            </a:r>
            <a:r>
              <a:rPr lang="en-US" i="1" baseline="0" dirty="0"/>
              <a:t>snapshot clones </a:t>
            </a:r>
            <a:r>
              <a:rPr lang="en-US" baseline="0" dirty="0"/>
              <a:t>from this golden master.</a:t>
            </a:r>
          </a:p>
          <a:p>
            <a:r>
              <a:rPr lang="en-US" baseline="0" dirty="0"/>
              <a:t>Based on copy-on-write technology, these are highly storage-efficient;</a:t>
            </a:r>
          </a:p>
          <a:p>
            <a:r>
              <a:rPr lang="en-US" baseline="0" dirty="0"/>
              <a:t>They require negligible incremental storage and can therefore be provisioned very rapidly. </a:t>
            </a:r>
          </a:p>
          <a:p>
            <a:endParaRPr lang="en-US" baseline="0" dirty="0"/>
          </a:p>
          <a:p>
            <a:r>
              <a:rPr lang="en-US" baseline="0" dirty="0"/>
              <a:t>Here the high availability angle is the ability to create – and destroy and re-create – </a:t>
            </a:r>
          </a:p>
          <a:p>
            <a:r>
              <a:rPr lang="en-US" baseline="0" dirty="0"/>
              <a:t>individual development environments very rapidly without impacting other developers.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72D9AE-7182-4680-8F79-479C4181FF08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801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Refreshable</a:t>
            </a:r>
            <a:r>
              <a:rPr lang="en-US" baseline="0" dirty="0"/>
              <a:t> PDB </a:t>
            </a:r>
            <a:r>
              <a:rPr lang="en-US" dirty="0"/>
              <a:t>builds upon Hot</a:t>
            </a:r>
            <a:r>
              <a:rPr lang="en-US" baseline="0" dirty="0"/>
              <a:t> Clone.</a:t>
            </a:r>
          </a:p>
          <a:p>
            <a:endParaRPr lang="en-US" baseline="0" dirty="0"/>
          </a:p>
          <a:p>
            <a:r>
              <a:rPr lang="en-US" baseline="0" dirty="0"/>
              <a:t>Let’s continue our discussion of the development and testing use case in which one of the development Golden Master databases is a clone of production.</a:t>
            </a:r>
          </a:p>
          <a:p>
            <a:endParaRPr lang="en-US" baseline="0" dirty="0"/>
          </a:p>
          <a:p>
            <a:r>
              <a:rPr lang="en-US" baseline="0" dirty="0"/>
              <a:t>Production databases tend to be large. The larger they are, the longer they take to copy. </a:t>
            </a:r>
          </a:p>
          <a:p>
            <a:r>
              <a:rPr lang="en-US" baseline="0" dirty="0"/>
              <a:t>If your production database is in the tens of terabytes scale, it will take in the order of days to copy it. </a:t>
            </a:r>
          </a:p>
          <a:p>
            <a:r>
              <a:rPr lang="en-US" baseline="0" dirty="0"/>
              <a:t>You don’t want to do that sort of thing very often, and therefore development copies of this sort of production database tend to be rather stale.</a:t>
            </a:r>
          </a:p>
          <a:p>
            <a:r>
              <a:rPr lang="en-US" baseline="0" dirty="0"/>
              <a:t>The staler the database, the less relevant it is for development purposes, such as debugging.</a:t>
            </a:r>
          </a:p>
          <a:p>
            <a:endParaRPr lang="en-US" baseline="0" dirty="0"/>
          </a:p>
          <a:p>
            <a:r>
              <a:rPr lang="en-US" baseline="0" dirty="0"/>
              <a:t>That’s why we built Refreshable PDB. </a:t>
            </a:r>
          </a:p>
          <a:p>
            <a:endParaRPr lang="en-US" baseline="0" dirty="0"/>
          </a:p>
          <a:p>
            <a:r>
              <a:rPr lang="en-US" baseline="0" dirty="0"/>
              <a:t>[Click]</a:t>
            </a:r>
          </a:p>
          <a:p>
            <a:r>
              <a:rPr lang="en-US" baseline="0" dirty="0"/>
              <a:t>Step 1 is to take a hot clone. That takes as long as it takes. Hours, days, whatever. It doesn’t really matter since this does not involve an outage in production. </a:t>
            </a:r>
          </a:p>
          <a:p>
            <a:endParaRPr lang="en-US" baseline="0" dirty="0"/>
          </a:p>
          <a:p>
            <a:r>
              <a:rPr lang="en-US" baseline="0" dirty="0"/>
              <a:t>[Click]</a:t>
            </a:r>
          </a:p>
          <a:p>
            <a:r>
              <a:rPr lang="en-US" baseline="0" dirty="0"/>
              <a:t>Now, as the clone becomes stale, we can refresh it. </a:t>
            </a:r>
          </a:p>
          <a:p>
            <a:r>
              <a:rPr lang="en-US" baseline="0" dirty="0"/>
              <a:t>We do this by applying all the transactions that have accumulated since the last refresh. </a:t>
            </a:r>
          </a:p>
          <a:p>
            <a:r>
              <a:rPr lang="en-US" baseline="0" dirty="0"/>
              <a:t>Even if the source database is enormous, this incremental set will typically be much smaller. </a:t>
            </a:r>
          </a:p>
          <a:p>
            <a:r>
              <a:rPr lang="en-US" baseline="0" dirty="0"/>
              <a:t>It’s therefore going to be a much, much quicker process than the initial hot clone.</a:t>
            </a:r>
          </a:p>
          <a:p>
            <a:endParaRPr lang="en-US" baseline="0" dirty="0"/>
          </a:p>
          <a:p>
            <a:r>
              <a:rPr lang="en-US" baseline="0" dirty="0"/>
              <a:t>Therefore it’s going to be much simpler to keep your production clones refreshed with recent data copied from production.</a:t>
            </a:r>
          </a:p>
          <a:p>
            <a:endParaRPr lang="en-US" baseline="0" dirty="0"/>
          </a:p>
          <a:p>
            <a:r>
              <a:rPr lang="en-US" baseline="0" dirty="0"/>
              <a:t>The clone may be refreshed either manually or on a specific schedule, perhaps every 24 hours. </a:t>
            </a:r>
          </a:p>
          <a:p>
            <a:endParaRPr lang="en-US" baseline="0" dirty="0"/>
          </a:p>
          <a:p>
            <a:r>
              <a:rPr lang="en-US" baseline="0" dirty="0"/>
              <a:t>The relevance of this capability from the perspective of high availability</a:t>
            </a:r>
          </a:p>
          <a:p>
            <a:r>
              <a:rPr lang="en-US" baseline="0" dirty="0"/>
              <a:t>Is the availability of freshly-updated data from production in the development master – </a:t>
            </a:r>
          </a:p>
          <a:p>
            <a:r>
              <a:rPr lang="en-US" baseline="0" dirty="0"/>
              <a:t>an invaluable capability for rapidly debugging data-specific bug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72D9AE-7182-4680-8F79-479C4181FF08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857346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US" baseline="0" dirty="0"/>
              <a:t>Now we shift gears back into Production, to discuss Online PDB relocation.</a:t>
            </a:r>
          </a:p>
          <a:p>
            <a:endParaRPr lang="en-US" baseline="0" dirty="0"/>
          </a:p>
          <a:p>
            <a:pPr marL="0" marR="0" indent="0" algn="l" defTabSz="91433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Why do you want this?</a:t>
            </a:r>
          </a:p>
          <a:p>
            <a:pPr marL="0" marR="0" indent="0" algn="l" defTabSz="91433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You want this because we want this.</a:t>
            </a:r>
          </a:p>
          <a:p>
            <a:pPr marL="0" marR="0" indent="0" algn="l" defTabSz="91433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We needed this capability for Oracle Cloud Database Services, including Autonomous Database. </a:t>
            </a:r>
          </a:p>
          <a:p>
            <a:pPr marL="0" marR="0" indent="0" algn="l" defTabSz="91433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I’ll tell you why. </a:t>
            </a:r>
          </a:p>
          <a:p>
            <a:pPr marL="0" marR="0" indent="0" algn="l" defTabSz="91433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/>
          </a:p>
          <a:p>
            <a:r>
              <a:rPr lang="en-US" sz="11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Service Level Agreements (SLAs) typically feature two conflicting aspects – performance and availability. </a:t>
            </a:r>
          </a:p>
          <a:p>
            <a:r>
              <a:rPr lang="en-US" sz="11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If a database is in danger of violating its performance SLA, </a:t>
            </a:r>
          </a:p>
          <a:p>
            <a:r>
              <a:rPr lang="en-US" sz="11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the solution is typically to move it to a server with more available processing power. </a:t>
            </a:r>
          </a:p>
          <a:p>
            <a:r>
              <a:rPr lang="en-US" sz="11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However, to do so traditionally involves an outage in the application, </a:t>
            </a:r>
          </a:p>
          <a:p>
            <a:r>
              <a:rPr lang="en-US" sz="11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and this is likely to violate the </a:t>
            </a:r>
            <a:r>
              <a:rPr lang="en-US" sz="1100" i="1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availability</a:t>
            </a:r>
            <a:r>
              <a:rPr lang="en-US" sz="11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 component of the SLA.</a:t>
            </a:r>
          </a:p>
          <a:p>
            <a:endParaRPr lang="en-US" sz="1100" kern="1200" dirty="0">
              <a:solidFill>
                <a:srgbClr val="000000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1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So the high availability requirement is to be able to relocate a PDB between servers without taking an outage.</a:t>
            </a:r>
          </a:p>
          <a:p>
            <a:r>
              <a:rPr lang="en-US" sz="11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This is possible with Online PDB Relocation.</a:t>
            </a:r>
          </a:p>
          <a:p>
            <a:endParaRPr lang="en-US" sz="1100" kern="1200" dirty="0">
              <a:solidFill>
                <a:srgbClr val="000000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1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Under the covers, we create a refreshable clone,</a:t>
            </a:r>
          </a:p>
          <a:p>
            <a:r>
              <a:rPr lang="en-US" sz="11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Top it up with the latest changes</a:t>
            </a:r>
          </a:p>
          <a:p>
            <a:r>
              <a:rPr lang="en-US" sz="11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And transparently switch connections.</a:t>
            </a:r>
          </a:p>
          <a:p>
            <a:r>
              <a:rPr lang="en-US" sz="11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When that’s complete the original PDB is dropped.</a:t>
            </a:r>
          </a:p>
          <a:p>
            <a:endParaRPr lang="en-US" sz="1200" kern="1200" dirty="0">
              <a:solidFill>
                <a:srgbClr val="000000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It’s all accomplished with a single SQL statemen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72D9AE-7182-4680-8F79-479C4181FF08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381767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7500" lnSpcReduction="20000"/>
          </a:bodyPr>
          <a:lstStyle/>
          <a:p>
            <a:r>
              <a:rPr lang="en-US" b="1" u="sng" baseline="0" dirty="0"/>
              <a:t>Brief Version</a:t>
            </a:r>
          </a:p>
          <a:p>
            <a:r>
              <a:rPr lang="en-US" b="0" u="none" baseline="0" dirty="0"/>
              <a:t>Oracle Multitenant delivers the full promise of the Database Cloud: </a:t>
            </a:r>
          </a:p>
          <a:p>
            <a:r>
              <a:rPr lang="en-US" b="0" u="none" baseline="0" dirty="0"/>
              <a:t>Isolation and Agility with Economies of Scale.</a:t>
            </a:r>
          </a:p>
          <a:p>
            <a:r>
              <a:rPr lang="en-US" b="0" u="none" baseline="0" dirty="0"/>
              <a:t>Applications run unchanged in self-contained Pluggable Databases or PDBs.</a:t>
            </a:r>
          </a:p>
          <a:p>
            <a:r>
              <a:rPr lang="en-US" b="0" u="none" baseline="0" dirty="0"/>
              <a:t>PDBs are simple to clone and to move to and around the Cloud.</a:t>
            </a:r>
          </a:p>
          <a:p>
            <a:r>
              <a:rPr lang="en-US" b="0" u="none" baseline="0" dirty="0"/>
              <a:t>A container database or CDB consolidates many PDBs.</a:t>
            </a:r>
          </a:p>
          <a:p>
            <a:endParaRPr lang="en-US" b="0" u="none" baseline="0" dirty="0"/>
          </a:p>
          <a:p>
            <a:r>
              <a:rPr lang="en-US" b="0" u="none" baseline="0" dirty="0"/>
              <a:t>Patch the CDB and fix all the PDBs it contains in a single stroke!</a:t>
            </a:r>
          </a:p>
          <a:p>
            <a:r>
              <a:rPr lang="en-US" b="0" u="none" baseline="0" dirty="0"/>
              <a:t>That’s operational efficiency!</a:t>
            </a:r>
          </a:p>
          <a:p>
            <a:endParaRPr lang="en-US" b="0" u="none" baseline="0" dirty="0"/>
          </a:p>
          <a:p>
            <a:r>
              <a:rPr lang="en-US" b="0" u="none" baseline="0" dirty="0"/>
              <a:t>The shared infrastructure model is highly efficient so you can support more applications per server.</a:t>
            </a:r>
          </a:p>
          <a:p>
            <a:r>
              <a:rPr lang="en-US" b="0" u="none" baseline="0" dirty="0"/>
              <a:t>That’s technical efficiency!</a:t>
            </a:r>
          </a:p>
          <a:p>
            <a:endParaRPr lang="en-US" b="0" u="none" baseline="0" dirty="0"/>
          </a:p>
          <a:p>
            <a:pPr marL="0" marR="0" lvl="0" indent="0" algn="l" defTabSz="91433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u="sng" baseline="0" dirty="0"/>
              <a:t>Longer Version</a:t>
            </a:r>
          </a:p>
          <a:p>
            <a:r>
              <a:rPr lang="en-US" baseline="0" dirty="0"/>
              <a:t>This slide summarizes Oracle Multitenant -- the container database architecture -- the first database designed for the Cloud.</a:t>
            </a:r>
          </a:p>
          <a:p>
            <a:endParaRPr lang="en-US" baseline="0" dirty="0"/>
          </a:p>
          <a:p>
            <a:r>
              <a:rPr lang="en-US" baseline="0" dirty="0"/>
              <a:t>[click]</a:t>
            </a:r>
          </a:p>
          <a:p>
            <a:r>
              <a:rPr lang="en-US" baseline="0" dirty="0"/>
              <a:t>We have these self-contained “pluggable databases” or PDBs for each application or tenant.</a:t>
            </a:r>
          </a:p>
          <a:p>
            <a:r>
              <a:rPr lang="en-US" baseline="0" dirty="0"/>
              <a:t>From the point of view of an application, the PDB is the database,</a:t>
            </a:r>
          </a:p>
          <a:p>
            <a:r>
              <a:rPr lang="en-US" baseline="0" dirty="0"/>
              <a:t>In which applications run unchanged.</a:t>
            </a:r>
          </a:p>
          <a:p>
            <a:r>
              <a:rPr lang="en-US" baseline="0" dirty="0"/>
              <a:t>PDBs can be very rapidly provisioned</a:t>
            </a:r>
          </a:p>
          <a:p>
            <a:r>
              <a:rPr lang="en-US" baseline="0" dirty="0"/>
              <a:t>And a pluggable database is a portable database, </a:t>
            </a:r>
          </a:p>
          <a:p>
            <a:r>
              <a:rPr lang="en-US" baseline="0" dirty="0"/>
              <a:t>which makes it very easy to move around, perhaps for load balancing or migration to the Cloud</a:t>
            </a:r>
          </a:p>
          <a:p>
            <a:endParaRPr lang="en-US" baseline="0" dirty="0"/>
          </a:p>
          <a:p>
            <a:pPr marL="0" marR="0" lvl="0" indent="0" algn="l" defTabSz="91433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[click]</a:t>
            </a:r>
          </a:p>
          <a:p>
            <a:r>
              <a:rPr lang="en-US" baseline="0" dirty="0"/>
              <a:t>Many PDBs can be plugged into a single Multitenant Container Database or CDB.</a:t>
            </a:r>
          </a:p>
          <a:p>
            <a:r>
              <a:rPr lang="en-US" baseline="0" dirty="0"/>
              <a:t>From the point of view of a DBA, the CDB is the database – </a:t>
            </a:r>
          </a:p>
          <a:p>
            <a:r>
              <a:rPr lang="en-US" baseline="0" dirty="0"/>
              <a:t>Common operations are performed at the level of the CDB</a:t>
            </a:r>
          </a:p>
          <a:p>
            <a:r>
              <a:rPr lang="en-US" baseline="0" dirty="0"/>
              <a:t>Enabling the DBA to manage many as one, </a:t>
            </a:r>
          </a:p>
          <a:p>
            <a:r>
              <a:rPr lang="en-US" baseline="0" dirty="0"/>
              <a:t>for operations such as upgrade, configuration of high availability, taking backups.</a:t>
            </a:r>
          </a:p>
          <a:p>
            <a:r>
              <a:rPr lang="en-US" baseline="0" dirty="0"/>
              <a:t>But we retain granular control when appropriate.</a:t>
            </a:r>
          </a:p>
          <a:p>
            <a:r>
              <a:rPr lang="en-US" baseline="0" dirty="0"/>
              <a:t>This ability to manage many as one enables tremendous gains in operational efficiency.</a:t>
            </a:r>
          </a:p>
          <a:p>
            <a:endParaRPr lang="en-US" baseline="0" dirty="0"/>
          </a:p>
          <a:p>
            <a:pPr marL="0" marR="0" lvl="0" indent="0" algn="l" defTabSz="91433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[click]</a:t>
            </a:r>
          </a:p>
          <a:p>
            <a:r>
              <a:rPr lang="en-US" baseline="0" dirty="0"/>
              <a:t>Enormous gains in technical efficiency are enabled by a shared technical infrastructure.</a:t>
            </a:r>
          </a:p>
          <a:p>
            <a:r>
              <a:rPr lang="en-US" baseline="0" dirty="0"/>
              <a:t>There’s a single set of background processes </a:t>
            </a:r>
          </a:p>
          <a:p>
            <a:r>
              <a:rPr lang="en-US" baseline="0" dirty="0"/>
              <a:t>And a single, global memory area – the SGA – shared by all the PDBs.</a:t>
            </a:r>
          </a:p>
          <a:p>
            <a:r>
              <a:rPr lang="en-US" baseline="0" dirty="0"/>
              <a:t>The result is that with this architecture we can consolidate more applications per server.</a:t>
            </a:r>
          </a:p>
          <a:p>
            <a:endParaRPr lang="en-US" baseline="0" dirty="0"/>
          </a:p>
          <a:p>
            <a:r>
              <a:rPr lang="en-US" baseline="0" dirty="0"/>
              <a:t>These huge gains in operational and technical efficiency deliver the economies of scale promised by the Cloud.</a:t>
            </a:r>
          </a:p>
          <a:p>
            <a:r>
              <a:rPr lang="en-US" baseline="0" dirty="0"/>
              <a:t>Let’s review the other critical components, starting with isolation.</a:t>
            </a:r>
          </a:p>
          <a:p>
            <a:endParaRPr lang="en-US" baseline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racle Database 19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03585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sz="1100" i="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72D9AE-7182-4680-8F79-479C4181FF08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42333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sz="1100" i="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72D9AE-7182-4680-8F79-479C4181FF08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0534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baseline="0" dirty="0"/>
              <a:t>[*Be careful not to use the term “Magic Quadrant” in this slide because this is a trademark of Gartner.]</a:t>
            </a:r>
          </a:p>
          <a:p>
            <a:endParaRPr lang="en-US" baseline="0" dirty="0"/>
          </a:p>
          <a:p>
            <a:r>
              <a:rPr lang="en-US" baseline="0" dirty="0"/>
              <a:t>There’s an important class of ISV that we might characterize as “demoralized Y2k-era on-</a:t>
            </a:r>
            <a:r>
              <a:rPr lang="en-US" baseline="0" dirty="0" err="1"/>
              <a:t>prem</a:t>
            </a:r>
            <a:r>
              <a:rPr lang="en-US" baseline="0" dirty="0"/>
              <a:t> application vendors”. </a:t>
            </a:r>
            <a:endParaRPr lang="en-US" sz="1200" kern="1200" dirty="0">
              <a:solidFill>
                <a:srgbClr val="000000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Without Multitenant, as these ISVs</a:t>
            </a:r>
            <a:r>
              <a:rPr lang="en-US" sz="1200" kern="1200" baseline="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 migrate to a modern Cloud model, they are </a:t>
            </a:r>
            <a:r>
              <a:rPr lang="en-US" sz="12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faced with two bad options.</a:t>
            </a:r>
          </a:p>
          <a:p>
            <a:r>
              <a:rPr lang="en-US" sz="12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[Click]</a:t>
            </a:r>
          </a:p>
          <a:p>
            <a:r>
              <a:rPr lang="en-US" sz="12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Either they can move to a hosted model, </a:t>
            </a:r>
          </a:p>
          <a:p>
            <a:r>
              <a:rPr lang="en-US" sz="12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[Click]</a:t>
            </a:r>
          </a:p>
          <a:p>
            <a:r>
              <a:rPr lang="en-US" sz="12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running each tenant standalone in a VM in some first-generation Cloud environment. </a:t>
            </a:r>
          </a:p>
          <a:p>
            <a:r>
              <a:rPr lang="en-US" sz="12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That might deliver some improved</a:t>
            </a:r>
            <a:r>
              <a:rPr lang="en-US" sz="1200" kern="1200" baseline="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 isolation and agility, but it’s not at all efficient.</a:t>
            </a:r>
          </a:p>
          <a:p>
            <a:endParaRPr lang="en-US" sz="1200" kern="1200" dirty="0">
              <a:solidFill>
                <a:srgbClr val="000000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Or, they could re-architect their application to retrofit multitenancy, which will typically involve very dramatic re-engineering </a:t>
            </a:r>
          </a:p>
          <a:p>
            <a:r>
              <a:rPr lang="en-US" sz="12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and testing efforts and lots of unsatisfactory compromises of performance, isolation and functionality. </a:t>
            </a:r>
          </a:p>
          <a:p>
            <a:endParaRPr lang="en-US" sz="1200" kern="1200" dirty="0">
              <a:solidFill>
                <a:srgbClr val="000000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33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baseline="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[Click]</a:t>
            </a:r>
            <a:endParaRPr lang="en-US" sz="1200" kern="1200" dirty="0">
              <a:solidFill>
                <a:srgbClr val="000000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More modern, “cloud-born” applications typically employ a model sometimes described as “row-based consolidation”. </a:t>
            </a:r>
          </a:p>
          <a:p>
            <a:r>
              <a:rPr lang="en-US" sz="12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Essentially this model hosts multiple tenants in a single database, with each tenant’s data distinguished by a column (such as </a:t>
            </a:r>
            <a:r>
              <a:rPr lang="en-US" sz="1200" kern="1200" dirty="0" err="1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Tenant_ID</a:t>
            </a:r>
            <a:r>
              <a:rPr lang="en-US" sz="12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) in each table, designating to whom each row belongs. With data for all tenants intermingled in the same tables it is thus up to the application to segregate the data. </a:t>
            </a:r>
          </a:p>
          <a:p>
            <a:r>
              <a:rPr lang="en-US" sz="12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For example, if a particular tenant were to consult an Orders web page, the “show me my orders” query would be satisfied by the application code constructing a SQL statement similar to </a:t>
            </a:r>
          </a:p>
          <a:p>
            <a:r>
              <a:rPr lang="en-US" sz="12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select * from orders</a:t>
            </a:r>
            <a:br>
              <a:rPr lang="en-US" sz="12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Tenant_ID</a:t>
            </a:r>
            <a:r>
              <a:rPr lang="en-US" sz="12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 = :</a:t>
            </a:r>
            <a:r>
              <a:rPr lang="en-US" sz="1200" kern="1200" dirty="0" err="1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Tenant_ID</a:t>
            </a:r>
            <a:r>
              <a:rPr lang="en-US" sz="12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;</a:t>
            </a:r>
          </a:p>
          <a:p>
            <a:endParaRPr lang="en-US" sz="1200" kern="1200" dirty="0">
              <a:solidFill>
                <a:srgbClr val="000000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This works well up to a point, delivering great economies of scale but presents significant</a:t>
            </a:r>
            <a:r>
              <a:rPr lang="en-US" sz="1200" kern="1200" baseline="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 challenges in terms of both isolation and agility. </a:t>
            </a:r>
          </a:p>
          <a:p>
            <a:endParaRPr lang="en-US" sz="1200" kern="1200" baseline="0" dirty="0">
              <a:solidFill>
                <a:srgbClr val="000000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baseline="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[Click]</a:t>
            </a:r>
          </a:p>
          <a:p>
            <a:r>
              <a:rPr lang="en-US" sz="1200" kern="1200" baseline="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Multitenant delivers great advantages to vendors in both categories.</a:t>
            </a:r>
          </a:p>
          <a:p>
            <a:r>
              <a:rPr lang="en-US" sz="1200" kern="1200" baseline="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The formerly standalone applications get instant cloud economies of scale, with no application changes and without compromising on isolation and agility</a:t>
            </a:r>
          </a:p>
          <a:p>
            <a:r>
              <a:rPr lang="en-US" sz="1200" kern="1200" baseline="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For applications born in the Cloud, we deliver the isolation and agility they have sacrificed to reduce costs, without compromising on economies of scale. </a:t>
            </a:r>
            <a:endParaRPr lang="en-US" sz="1200" kern="1200" dirty="0">
              <a:solidFill>
                <a:srgbClr val="000000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72D9AE-7182-4680-8F79-479C4181FF08}" type="slidenum">
              <a:rPr lang="uk-UA" smtClean="0"/>
              <a:pPr/>
              <a:t>5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77409544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sz="1100" i="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72D9AE-7182-4680-8F79-479C4181FF08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657335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sz="1100" i="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72D9AE-7182-4680-8F79-479C4181FF08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590585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sz="1100" i="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72D9AE-7182-4680-8F79-479C4181FF08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61000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8600" lvl="1" indent="-168275">
              <a:buClr>
                <a:srgbClr val="FF0000"/>
              </a:buClr>
              <a:buFont typeface="Wingdings" pitchFamily="2" charset="2"/>
              <a:buChar char="§"/>
            </a:pPr>
            <a:r>
              <a:rPr lang="en-US" dirty="0"/>
              <a:t>New ‘Document-Store’ API’s </a:t>
            </a:r>
            <a:r>
              <a:rPr lang="en-US" dirty="0">
                <a:latin typeface="Arial" charset="0"/>
                <a:cs typeface="Arial" charset="0"/>
              </a:rPr>
              <a:t>for application development</a:t>
            </a:r>
          </a:p>
          <a:p>
            <a:pPr lvl="1"/>
            <a:r>
              <a:rPr lang="en-US" dirty="0"/>
              <a:t>REST services</a:t>
            </a:r>
          </a:p>
          <a:p>
            <a:pPr lvl="1"/>
            <a:r>
              <a:rPr lang="en-US" dirty="0"/>
              <a:t>Document / Collection centric APIs for JAVA</a:t>
            </a:r>
          </a:p>
          <a:p>
            <a:pPr lvl="1"/>
            <a:r>
              <a:rPr lang="en-US" dirty="0"/>
              <a:t>Higher level frameworks for popular scripting languages</a:t>
            </a:r>
          </a:p>
          <a:p>
            <a:pPr>
              <a:buFont typeface="Wingdings" pitchFamily="2" charset="2"/>
              <a:buChar char="§"/>
            </a:pPr>
            <a:r>
              <a:rPr lang="en-US" dirty="0"/>
              <a:t>All existing RDBMS APIs can access JSON documents stored in Oracle RDBMS</a:t>
            </a:r>
          </a:p>
          <a:p>
            <a:pPr lvl="1"/>
            <a:r>
              <a:rPr lang="en-US" dirty="0"/>
              <a:t>Use OCI, JDBC, .NET to store and retrieve JSON Documents</a:t>
            </a:r>
          </a:p>
          <a:p>
            <a:pPr lvl="1"/>
            <a:r>
              <a:rPr lang="en-US" dirty="0"/>
              <a:t>Execute JSON Path expressions using SQL/JSON  operat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2BD9D02-5004-4ED6-8EDB-D4E671BC2040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83515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2588" y="381000"/>
            <a:ext cx="4572000" cy="257333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59462" lvl="1">
              <a:buClr>
                <a:srgbClr val="FF0000"/>
              </a:buClr>
              <a:defRPr/>
            </a:pPr>
            <a:r>
              <a:rPr lang="en-US" dirty="0"/>
              <a:t>TWO BUILDS</a:t>
            </a:r>
          </a:p>
          <a:p>
            <a:pPr marL="59462" lvl="1">
              <a:buClr>
                <a:srgbClr val="FF0000"/>
              </a:buClr>
              <a:defRPr/>
            </a:pPr>
            <a:endParaRPr lang="en-US" dirty="0"/>
          </a:p>
          <a:p>
            <a:pPr marL="59462" lvl="1">
              <a:buClr>
                <a:srgbClr val="FF0000"/>
              </a:buClr>
              <a:defRPr/>
            </a:pPr>
            <a:r>
              <a:rPr lang="en-US" dirty="0"/>
              <a:t>JSON documents can be stored in an Oracle database</a:t>
            </a:r>
          </a:p>
          <a:p>
            <a:pPr marL="59462" lvl="1">
              <a:buClr>
                <a:srgbClr val="FF0000"/>
              </a:buClr>
              <a:defRPr/>
            </a:pPr>
            <a:endParaRPr lang="en-US" dirty="0"/>
          </a:p>
          <a:p>
            <a:pPr marL="59462" lvl="1">
              <a:buClr>
                <a:srgbClr val="FF0000"/>
              </a:buClr>
              <a:defRPr/>
            </a:pPr>
            <a:r>
              <a:rPr lang="en-US" dirty="0"/>
              <a:t>&lt;click&gt; </a:t>
            </a:r>
          </a:p>
          <a:p>
            <a:pPr marL="59462" lvl="1">
              <a:buClr>
                <a:srgbClr val="FF0000"/>
              </a:buClr>
              <a:defRPr/>
            </a:pPr>
            <a:endParaRPr lang="en-US" dirty="0"/>
          </a:p>
          <a:p>
            <a:pPr marL="59462" lvl="1">
              <a:buClr>
                <a:srgbClr val="FF0000"/>
              </a:buClr>
              <a:defRPr/>
            </a:pPr>
            <a:r>
              <a:rPr lang="en-US" dirty="0"/>
              <a:t>Web/mobile developers use REST or other non-SQL </a:t>
            </a:r>
            <a:r>
              <a:rPr lang="en-US" dirty="0" err="1"/>
              <a:t>api’s</a:t>
            </a:r>
            <a:r>
              <a:rPr lang="en-US" dirty="0"/>
              <a:t> to build their applications</a:t>
            </a:r>
          </a:p>
          <a:p>
            <a:pPr marL="59462" lvl="1">
              <a:buClr>
                <a:srgbClr val="FF0000"/>
              </a:buClr>
              <a:defRPr/>
            </a:pPr>
            <a:endParaRPr lang="en-US" dirty="0"/>
          </a:p>
          <a:p>
            <a:pPr marL="59462" lvl="1">
              <a:buClr>
                <a:srgbClr val="FF0000"/>
              </a:buClr>
              <a:defRPr/>
            </a:pPr>
            <a:r>
              <a:rPr lang="en-US" dirty="0"/>
              <a:t>&lt;click&gt;</a:t>
            </a:r>
          </a:p>
          <a:p>
            <a:pPr marL="59462" lvl="1">
              <a:buClr>
                <a:srgbClr val="FF0000"/>
              </a:buClr>
              <a:defRPr/>
            </a:pPr>
            <a:endParaRPr lang="en-US" dirty="0"/>
          </a:p>
          <a:p>
            <a:pPr marL="59462" lvl="1">
              <a:buClr>
                <a:srgbClr val="FF0000"/>
              </a:buClr>
              <a:defRPr/>
            </a:pPr>
            <a:r>
              <a:rPr lang="en-US" dirty="0"/>
              <a:t>Database developers and Bi users access the same JSON documents via SQL</a:t>
            </a:r>
          </a:p>
          <a:p>
            <a:pPr marL="59462" lvl="1">
              <a:buClr>
                <a:srgbClr val="FF0000"/>
              </a:buClr>
              <a:defRPr/>
            </a:pPr>
            <a:r>
              <a:rPr lang="en-US" dirty="0" err="1"/>
              <a:t>NoSQL</a:t>
            </a:r>
            <a:r>
              <a:rPr lang="en-US" dirty="0"/>
              <a:t> databases in general do not provide SQL access, but SQL provides key benefits:</a:t>
            </a:r>
          </a:p>
          <a:p>
            <a:pPr marL="59462" lvl="1">
              <a:buClr>
                <a:srgbClr val="FF0000"/>
              </a:buClr>
              <a:defRPr/>
            </a:pPr>
            <a:r>
              <a:rPr lang="en-US" dirty="0"/>
              <a:t> - powerful and efficient query and reporting (including integration with BI tools)</a:t>
            </a:r>
          </a:p>
          <a:p>
            <a:pPr marL="59462" lvl="1">
              <a:buClr>
                <a:srgbClr val="FF0000"/>
              </a:buClr>
              <a:defRPr/>
            </a:pPr>
            <a:r>
              <a:rPr lang="en-US" dirty="0"/>
              <a:t> - data integration between JSON and relational data</a:t>
            </a:r>
          </a:p>
        </p:txBody>
      </p:sp>
      <p:sp>
        <p:nvSpPr>
          <p:cNvPr id="1280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859BF6F-FCD8-43CC-A9D9-061098A171B4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26437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412875" y="954088"/>
            <a:ext cx="8377238" cy="4714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lient goes thru app mid tier (not shown)</a:t>
            </a:r>
          </a:p>
          <a:p>
            <a:endParaRPr lang="en-US" dirty="0"/>
          </a:p>
          <a:p>
            <a:pPr marL="302066" indent="-302066" hangingPunct="1">
              <a:lnSpc>
                <a:spcPct val="110000"/>
              </a:lnSpc>
              <a:buClr>
                <a:schemeClr val="accent1"/>
              </a:buClr>
              <a:buFont typeface="Arial"/>
              <a:buChar char="•"/>
            </a:pPr>
            <a:r>
              <a:rPr lang="en-US" sz="1300" dirty="0"/>
              <a:t>Data stored in standard relational tables and columns</a:t>
            </a:r>
          </a:p>
          <a:p>
            <a:pPr marL="302066" indent="-302066" hangingPunct="1">
              <a:lnSpc>
                <a:spcPct val="110000"/>
              </a:lnSpc>
              <a:buClr>
                <a:schemeClr val="accent1"/>
              </a:buClr>
              <a:buFont typeface="Arial"/>
              <a:buChar char="•"/>
            </a:pPr>
            <a:r>
              <a:rPr lang="en-US" sz="1300" dirty="0"/>
              <a:t>ORDS Developer defines SQL that satisfies named URI requests</a:t>
            </a:r>
          </a:p>
          <a:p>
            <a:pPr marL="302066" indent="-302066" hangingPunct="1">
              <a:lnSpc>
                <a:spcPct val="110000"/>
              </a:lnSpc>
              <a:buClr>
                <a:schemeClr val="accent1"/>
              </a:buClr>
              <a:buFont typeface="Arial"/>
              <a:buChar char="•"/>
            </a:pPr>
            <a:r>
              <a:rPr lang="en-US" sz="1300" dirty="0"/>
              <a:t>App Developer calls named URI over http(s) gets and posts</a:t>
            </a:r>
          </a:p>
          <a:p>
            <a:pPr marL="302066" indent="-302066" hangingPunct="1">
              <a:lnSpc>
                <a:spcPct val="110000"/>
              </a:lnSpc>
              <a:buClr>
                <a:schemeClr val="accent1"/>
              </a:buClr>
              <a:buFont typeface="Arial"/>
              <a:buChar char="•"/>
            </a:pPr>
            <a:r>
              <a:rPr lang="en-US" sz="1300" dirty="0"/>
              <a:t>ORDS maps URI to the SQL and performs data bindings</a:t>
            </a:r>
          </a:p>
          <a:p>
            <a:pPr marL="302066" indent="-302066" hangingPunct="1">
              <a:lnSpc>
                <a:spcPct val="110000"/>
              </a:lnSpc>
              <a:buClr>
                <a:schemeClr val="accent1"/>
              </a:buClr>
              <a:buFont typeface="Arial"/>
              <a:buChar char="•"/>
            </a:pPr>
            <a:r>
              <a:rPr lang="en-US" sz="1300" dirty="0"/>
              <a:t>ORDS transforms the SQL result set to JS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2BD9D02-5004-4ED6-8EDB-D4E671BC2040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39364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ilt in is glassfish grizzly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E82501-53DA-4152-84B0-51135B15EEA8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276172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72D9AE-7182-4680-8F79-479C4181FF08}" type="slidenum">
              <a:rPr lang="es-ES" smtClean="0"/>
              <a:pPr/>
              <a:t>3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97320299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2588" y="381000"/>
            <a:ext cx="4572000" cy="257333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957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9572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5715000" y="8610600"/>
            <a:ext cx="762000" cy="22701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fld id="{FA8C87C3-6B41-4C3F-8E94-3CC1C85EB0C0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97105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p</a:t>
            </a:r>
            <a:r>
              <a:rPr lang="en-US" baseline="0" dirty="0"/>
              <a:t> until now, the only way to run analytic queries with an acceptable response </a:t>
            </a:r>
            <a:br>
              <a:rPr lang="en-US" baseline="0" dirty="0"/>
            </a:br>
            <a:r>
              <a:rPr lang="en-US" baseline="0" dirty="0"/>
              <a:t>on an OLTP environment was to create specific indexes for these queries.</a:t>
            </a:r>
          </a:p>
          <a:p>
            <a:endParaRPr lang="en-US" baseline="0" dirty="0"/>
          </a:p>
          <a:p>
            <a:r>
              <a:rPr lang="en-US" baseline="0" dirty="0"/>
              <a:t>The good thing about indexes is that they are extremely scalable.  They work well in-memory &amp; </a:t>
            </a:r>
            <a:br>
              <a:rPr lang="en-US" baseline="0" dirty="0"/>
            </a:br>
            <a:r>
              <a:rPr lang="en-US" baseline="0" dirty="0"/>
              <a:t>are extremely efficient on-disk since they minimize disk IO needed to find the requested data.</a:t>
            </a:r>
          </a:p>
          <a:p>
            <a:r>
              <a:rPr lang="en-US" baseline="0" dirty="0"/>
              <a:t>However, each reporting index is an additional stored structure that must be maintained and </a:t>
            </a:r>
            <a:br>
              <a:rPr lang="en-US" baseline="0" dirty="0"/>
            </a:br>
            <a:r>
              <a:rPr lang="en-US" baseline="0" dirty="0"/>
              <a:t>logged with every change made to the table. This additional overhead can have a huge impact</a:t>
            </a:r>
            <a:br>
              <a:rPr lang="en-US" baseline="0" dirty="0"/>
            </a:br>
            <a:r>
              <a:rPr lang="en-US" baseline="0" dirty="0"/>
              <a:t>on the transaction processing as the number of analytic indexes increases.</a:t>
            </a:r>
            <a:br>
              <a:rPr lang="en-US" baseline="0" dirty="0"/>
            </a:br>
            <a:r>
              <a:rPr lang="en-US" baseline="0" dirty="0"/>
              <a:t>The necessity to have indexes in place removes the ability to do ad-hoc analytics.</a:t>
            </a:r>
            <a:br>
              <a:rPr lang="en-US" baseline="0" dirty="0"/>
            </a:br>
            <a:endParaRPr lang="en-US" baseline="0" dirty="0"/>
          </a:p>
          <a:p>
            <a:r>
              <a:rPr lang="en-US" dirty="0"/>
              <a:t>Replacing</a:t>
            </a:r>
            <a:r>
              <a:rPr lang="en-US" baseline="0" dirty="0"/>
              <a:t> the analytic indexes with Database In-Memory,  if tables fit in memory, makes DML </a:t>
            </a:r>
            <a:br>
              <a:rPr lang="en-US" baseline="0" dirty="0"/>
            </a:br>
            <a:r>
              <a:rPr lang="en-US" baseline="0" dirty="0"/>
              <a:t>operations faster and reduces the overall storage space required for system. And unlike a</a:t>
            </a:r>
            <a:br>
              <a:rPr lang="en-US" baseline="0" dirty="0"/>
            </a:br>
            <a:r>
              <a:rPr lang="en-US" baseline="0" dirty="0"/>
              <a:t>pure in-memory database, if the system should crash and need to restart the business can</a:t>
            </a:r>
            <a:br>
              <a:rPr lang="en-US" baseline="0" dirty="0"/>
            </a:br>
            <a:r>
              <a:rPr lang="en-US" baseline="0" dirty="0"/>
              <a:t>still operate fully. OLTP queries and updates (the heart of any transaction based system) will</a:t>
            </a:r>
            <a:br>
              <a:rPr lang="en-US" baseline="0" dirty="0"/>
            </a:br>
            <a:r>
              <a:rPr lang="en-US" baseline="0" dirty="0"/>
              <a:t> perform just as they always do against the indexed row store.</a:t>
            </a:r>
          </a:p>
          <a:p>
            <a:endParaRPr lang="en-US" baseline="0" dirty="0"/>
          </a:p>
          <a:p>
            <a:r>
              <a:rPr lang="en-US" baseline="0" dirty="0"/>
              <a:t>Analytical queries will execute slowly until the IM Column Store is populated, but they will still run.</a:t>
            </a:r>
          </a:p>
          <a:p>
            <a:r>
              <a:rPr lang="en-US" baseline="0" dirty="0"/>
              <a:t>You don’t have to wait for all of the data to be populated in memory before resuming your business.</a:t>
            </a:r>
          </a:p>
          <a:p>
            <a:endParaRPr lang="en-US" baseline="0" dirty="0"/>
          </a:p>
          <a:p>
            <a:r>
              <a:rPr lang="en-US" baseline="0" dirty="0"/>
              <a:t>Removing the need for analytic indexes greatly simplifies tuning and reduces ongoing administration</a:t>
            </a:r>
            <a:br>
              <a:rPr lang="en-US" baseline="0" dirty="0"/>
            </a:br>
            <a:r>
              <a:rPr lang="en-US" baseline="0" dirty="0"/>
              <a:t>as well as the footprint of the database on disk as the volume of redo and undo generated will be </a:t>
            </a:r>
            <a:br>
              <a:rPr lang="en-US" baseline="0" dirty="0"/>
            </a:br>
            <a:r>
              <a:rPr lang="en-US" baseline="0" dirty="0"/>
              <a:t>greatly reduced. 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72D9AE-7182-4680-8F79-479C4181FF08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uk-UA" sz="1200" b="0" i="0" u="none" strike="noStrike" kern="1200" cap="none" spc="0" normalizeH="0" baseline="0" noProof="0" dirty="0">
              <a:ln>
                <a:noFill/>
              </a:ln>
              <a:solidFill>
                <a:srgbClr val="5F5F5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29643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en-US" dirty="0"/>
              <a:t>Let's think about our traditional Oracle Database architecture. Every time we create a database, be it a production database, a development or a test database, what do we do? We create a set of files, we allocate a bunch of memory for managing the data, and we kick off a series</a:t>
            </a:r>
            <a:r>
              <a:rPr lang="en-US" baseline="0" dirty="0"/>
              <a:t> </a:t>
            </a:r>
            <a:r>
              <a:rPr lang="en-US" dirty="0"/>
              <a:t>of background processes. 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[click]</a:t>
            </a:r>
          </a:p>
          <a:p>
            <a:pPr marL="0" indent="0">
              <a:buFontTx/>
              <a:buNone/>
            </a:pPr>
            <a:r>
              <a:rPr lang="en-US" dirty="0"/>
              <a:t>And this is replicated for every one of the databases that we create.</a:t>
            </a:r>
          </a:p>
          <a:p>
            <a:pPr marL="0" indent="0">
              <a:buFontTx/>
              <a:buNone/>
            </a:pPr>
            <a:r>
              <a:rPr lang="en-US" dirty="0"/>
              <a:t>As more and</a:t>
            </a:r>
            <a:r>
              <a:rPr lang="en-US" baseline="0" dirty="0"/>
              <a:t> more databases are fired up, these replicated overheads quickly consume the available server resources and this limits the number of applications we can run on any given server. </a:t>
            </a:r>
          </a:p>
          <a:p>
            <a:pPr marL="0" indent="0">
              <a:buFontTx/>
              <a:buNone/>
            </a:pPr>
            <a:endParaRPr lang="en-US" baseline="0" dirty="0"/>
          </a:p>
          <a:p>
            <a:pPr marL="0" indent="0">
              <a:buFontTx/>
              <a:buNone/>
            </a:pPr>
            <a:r>
              <a:rPr lang="en-US" baseline="0" dirty="0"/>
              <a:t>You can see how quickly we red-line the little resource meter here.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E0DC3D-6FE0-B542-8D21-8BAC2C7AB9E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598832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Row format is</a:t>
            </a:r>
            <a:r>
              <a:rPr lang="en-US" sz="1200" baseline="0" dirty="0"/>
              <a:t> o</a:t>
            </a:r>
            <a:r>
              <a:rPr lang="en-US" sz="1200" dirty="0"/>
              <a:t>ptimized for OLTP</a:t>
            </a:r>
            <a:r>
              <a:rPr lang="en-US" sz="1200" baseline="0" dirty="0"/>
              <a:t> workloads.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OLTP operations tend to access only a few rows but touch all of the columns</a:t>
            </a:r>
            <a:r>
              <a:rPr lang="en-US" sz="1200" baseline="0" dirty="0"/>
              <a:t>.</a:t>
            </a:r>
            <a:br>
              <a:rPr lang="en-US" sz="1200" baseline="0" dirty="0"/>
            </a:br>
            <a:r>
              <a:rPr lang="en-US" sz="1200" baseline="0" dirty="0"/>
              <a:t>A row format</a:t>
            </a:r>
            <a:r>
              <a:rPr lang="en-US" sz="1200" dirty="0"/>
              <a:t> allows quick access to all of the columns in a record since all</a:t>
            </a:r>
            <a:r>
              <a:rPr lang="en-US" sz="1200" baseline="0" dirty="0"/>
              <a:t> the data</a:t>
            </a:r>
            <a:br>
              <a:rPr lang="en-US" sz="1200" baseline="0" dirty="0"/>
            </a:br>
            <a:r>
              <a:rPr lang="en-US" sz="1200" baseline="0" dirty="0"/>
              <a:t>for a given record</a:t>
            </a:r>
            <a:r>
              <a:rPr lang="en-US" sz="1200" dirty="0"/>
              <a:t> are</a:t>
            </a:r>
            <a:r>
              <a:rPr lang="en-US" sz="1200" baseline="0" dirty="0"/>
              <a:t> </a:t>
            </a:r>
            <a:r>
              <a:rPr lang="en-US" sz="1200" dirty="0"/>
              <a:t>kept together in-memory and on-storage.</a:t>
            </a:r>
            <a:r>
              <a:rPr lang="en-US" sz="1200" baseline="0" dirty="0"/>
              <a:t>  Since all data for a row is kept</a:t>
            </a:r>
            <a:br>
              <a:rPr lang="en-US" sz="1200" baseline="0" dirty="0"/>
            </a:br>
            <a:r>
              <a:rPr lang="en-US" sz="1200" baseline="0" dirty="0"/>
              <a:t>together, much of the row data will be brought into the CPU with a single memory reference. </a:t>
            </a:r>
            <a:r>
              <a:rPr lang="en-US" dirty="0"/>
              <a:t>Row format </a:t>
            </a:r>
            <a:br>
              <a:rPr lang="en-US" dirty="0"/>
            </a:br>
            <a:r>
              <a:rPr lang="en-US" dirty="0"/>
              <a:t>is also much more efficient for row updates</a:t>
            </a:r>
            <a:r>
              <a:rPr lang="en-US" baseline="0" dirty="0"/>
              <a:t> and inserts.</a:t>
            </a:r>
            <a:endParaRPr lang="en-US" dirty="0"/>
          </a:p>
          <a:p>
            <a:endParaRPr lang="en-US" dirty="0"/>
          </a:p>
          <a:p>
            <a:r>
              <a:rPr lang="en-US" dirty="0"/>
              <a:t>Analytic</a:t>
            </a:r>
            <a:r>
              <a:rPr lang="en-US" baseline="0" dirty="0"/>
              <a:t>al workloads access few columns but scan the entire data set. They also typically require </a:t>
            </a:r>
            <a:br>
              <a:rPr lang="en-US" baseline="0" dirty="0"/>
            </a:br>
            <a:r>
              <a:rPr lang="en-US" baseline="0" dirty="0"/>
              <a:t>some sort of aggregation. A c</a:t>
            </a:r>
            <a:r>
              <a:rPr lang="en-US" dirty="0"/>
              <a:t>olumnar format allows</a:t>
            </a:r>
            <a:r>
              <a:rPr lang="en-US" baseline="0" dirty="0"/>
              <a:t> for much faster data retrieval when </a:t>
            </a:r>
            <a:br>
              <a:rPr lang="en-US" baseline="0" dirty="0"/>
            </a:br>
            <a:r>
              <a:rPr lang="en-US" baseline="0" dirty="0"/>
              <a:t>only a few columns in a table are selected because all the data for a column is kept</a:t>
            </a:r>
            <a:br>
              <a:rPr lang="en-US" baseline="0" dirty="0"/>
            </a:br>
            <a:r>
              <a:rPr lang="en-US" baseline="0" dirty="0"/>
              <a:t>together in-memory and a single memory access will load many column values into the CPU.</a:t>
            </a:r>
            <a:br>
              <a:rPr lang="en-US" baseline="0" dirty="0"/>
            </a:br>
            <a:r>
              <a:rPr lang="en-US" baseline="0" dirty="0"/>
              <a:t>It also lends itself to faster filtering and aggregation, making it the most </a:t>
            </a:r>
            <a:r>
              <a:rPr lang="en-US" baseline="0" dirty="0" err="1"/>
              <a:t>optimzed</a:t>
            </a:r>
            <a:r>
              <a:rPr lang="en-US" baseline="0" dirty="0"/>
              <a:t> format for analytics.</a:t>
            </a:r>
          </a:p>
          <a:p>
            <a:endParaRPr lang="en-US" baseline="0" dirty="0"/>
          </a:p>
          <a:p>
            <a:r>
              <a:rPr lang="en-US" baseline="0" dirty="0"/>
              <a:t>Up until now you have been force to pick just one format and suffer the tradeoff of either </a:t>
            </a:r>
            <a:br>
              <a:rPr lang="en-US" baseline="0" dirty="0"/>
            </a:br>
            <a:r>
              <a:rPr lang="en-US" baseline="0" dirty="0"/>
              <a:t>sub-optimal OLTP or sub-optimal Analytics. 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974851-B6F2-4A9B-8632-E8AB37F1296A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34002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191A3F-57E3-0044-A457-BB035FAE1C14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0568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400050"/>
            <a:ext cx="4800600" cy="2701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974851-B6F2-4A9B-8632-E8AB37F1296A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0905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400050"/>
            <a:ext cx="4800600" cy="2701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Implementing th</a:t>
            </a:r>
            <a:r>
              <a:rPr lang="en-US" baseline="0" dirty="0"/>
              <a:t>e In-Memory column store is as simple as flipping a switch. All you have to do is specify how much memory the column store can use,</a:t>
            </a:r>
          </a:p>
          <a:p>
            <a:r>
              <a:rPr lang="en-US" baseline="0" dirty="0"/>
              <a:t>Then decide which objects (tables, partitions, and columns) you want to be loaded into the column store and your done using Oracle’s advisor. Oracle will take care of the rest.</a:t>
            </a:r>
          </a:p>
          <a:p>
            <a:r>
              <a:rPr lang="en-US" baseline="0" dirty="0"/>
              <a:t>The Optimizer will simply direct any analytic queries to the In-Memory Column store, allowing you to do drop any indexes that were specifically created to </a:t>
            </a:r>
          </a:p>
          <a:p>
            <a:r>
              <a:rPr lang="en-US" baseline="0" dirty="0"/>
              <a:t>enable analytic query performanc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974851-B6F2-4A9B-8632-E8AB37F1296A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883265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5175" cy="2573338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72D9AE-7182-4680-8F79-479C4181FF08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42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e use of multiple single-model or multi-model databases depends on what the customer wants to do. Oracle offers the freedom of choosing</a:t>
            </a:r>
            <a:r>
              <a:rPr lang="en-US" baseline="0" dirty="0"/>
              <a:t> either, multi-model or single model.</a:t>
            </a:r>
          </a:p>
          <a:p>
            <a:r>
              <a:rPr lang="en-US" baseline="0" dirty="0"/>
              <a:t>However, Oracle is also providing integration with single-model systems via Big Data SQL which is a key differentiator when choosing Oracl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35941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asically, this slide needs to highlight: query optimizer, </a:t>
            </a:r>
            <a:r>
              <a:rPr lang="en-US" dirty="0" err="1"/>
              <a:t>breadht</a:t>
            </a:r>
            <a:r>
              <a:rPr lang="en-US" dirty="0"/>
              <a:t> of query processing techniques (joins, aggregations, indexes, </a:t>
            </a:r>
            <a:r>
              <a:rPr lang="en-US" dirty="0" err="1"/>
              <a:t>mv's</a:t>
            </a:r>
            <a:r>
              <a:rPr lang="en-US"/>
              <a:t>), parallel execution and in-memory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72D9AE-7182-4680-8F79-479C4181FF08}" type="slidenum">
              <a:rPr lang="uk-UA" smtClean="0"/>
              <a:pPr/>
              <a:t>44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8956720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PO — for placement only, do not modify/ed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DC5964-3162-43B5-B1EC-63C8D166D7D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11823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 Oracle Database 12c, we have a new multitenant architecture,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eaturing pluggable databases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Tx/>
              <a:buNone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can now create a single multitenant container database.</a:t>
            </a:r>
          </a:p>
          <a:p>
            <a:pPr marL="0" indent="0">
              <a:buFontTx/>
              <a:buNone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o this we can plug multiple pluggable databases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E0DC3D-6FE0-B542-8D21-8BAC2C7AB9E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05055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w, the beauty of this new architecture is we don't need to make changes to our existing applications. </a:t>
            </a:r>
          </a:p>
          <a:p>
            <a:pPr marL="0" indent="0">
              <a:buFontTx/>
              <a:buNone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re importantly, we now only allocate one chunk of memory and one set of background processes for that container database. </a:t>
            </a:r>
          </a:p>
          <a:p>
            <a:pPr marL="0" indent="0">
              <a:buFontTx/>
              <a:buNone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 that's going to give us much greater utilization out of our existing IT resources. We’ll be able to host many more applications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er database server. </a:t>
            </a:r>
          </a:p>
          <a:p>
            <a:pPr marL="0" indent="0">
              <a:buFontTx/>
              <a:buNone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 it's going to give us much greater scalability as we consolidate multiple pluggable databases into our new multiten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t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ainer databas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E0DC3D-6FE0-B542-8D21-8BAC2C7AB9E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3772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FontTx/>
              <a:buNone/>
            </a:pPr>
            <a:r>
              <a:rPr lang="en-US" dirty="0"/>
              <a:t>Let’s look</a:t>
            </a:r>
            <a:r>
              <a:rPr lang="en-US" baseline="0" dirty="0"/>
              <a:t> at the components of a multitenant container database</a:t>
            </a:r>
          </a:p>
          <a:p>
            <a:pPr marL="0" indent="0">
              <a:buFontTx/>
              <a:buNone/>
            </a:pPr>
            <a:endParaRPr lang="en-US" baseline="0" dirty="0"/>
          </a:p>
          <a:p>
            <a:pPr marL="0" indent="0">
              <a:buFontTx/>
              <a:buNone/>
            </a:pPr>
            <a:r>
              <a:rPr lang="en-US" baseline="0" dirty="0"/>
              <a:t>We have the pluggable databases or PDBs</a:t>
            </a:r>
          </a:p>
          <a:p>
            <a:pPr marL="0" indent="0">
              <a:buFontTx/>
              <a:buNone/>
            </a:pPr>
            <a:endParaRPr lang="en-US" baseline="0" dirty="0"/>
          </a:p>
          <a:p>
            <a:pPr marL="0" indent="0">
              <a:buFontTx/>
              <a:buNone/>
            </a:pPr>
            <a:r>
              <a:rPr lang="en-US" baseline="0" dirty="0"/>
              <a:t>There are two parts to the term pluggable databases;</a:t>
            </a:r>
          </a:p>
          <a:p>
            <a:pPr marL="0" indent="0">
              <a:buFontTx/>
              <a:buNone/>
            </a:pPr>
            <a:r>
              <a:rPr lang="en-US" baseline="0" dirty="0"/>
              <a:t>There’s “pluggable”, which is new and “databases” which is familiar.</a:t>
            </a:r>
          </a:p>
          <a:p>
            <a:pPr marL="0" indent="0">
              <a:buFontTx/>
              <a:buNone/>
            </a:pPr>
            <a:r>
              <a:rPr lang="en-US" baseline="0" dirty="0"/>
              <a:t>Before we get to the revolutionary new stuff let’s discuss what hasn’t changed.</a:t>
            </a:r>
          </a:p>
          <a:p>
            <a:pPr marL="0" indent="0">
              <a:buFontTx/>
              <a:buNone/>
            </a:pPr>
            <a:r>
              <a:rPr lang="en-US" baseline="0" dirty="0"/>
              <a:t>A pluggable database is a fully functional self-contained Oracle database. It’s not watered down in any way.</a:t>
            </a:r>
          </a:p>
          <a:p>
            <a:pPr marL="0" indent="0">
              <a:buFontTx/>
              <a:buNone/>
            </a:pPr>
            <a:r>
              <a:rPr lang="en-US" baseline="0" dirty="0"/>
              <a:t>From the perspective of an application or an end user it hasn’t changed at all.</a:t>
            </a:r>
          </a:p>
          <a:p>
            <a:pPr marL="0" indent="0">
              <a:buFontTx/>
              <a:buNone/>
            </a:pPr>
            <a:r>
              <a:rPr lang="en-US" baseline="0" dirty="0"/>
              <a:t>This is very important because it means that no application changes are required to adopt this new architecture.</a:t>
            </a:r>
          </a:p>
          <a:p>
            <a:pPr marL="0" indent="0">
              <a:buFontTx/>
              <a:buNone/>
            </a:pPr>
            <a:endParaRPr lang="en-US" baseline="0" dirty="0"/>
          </a:p>
          <a:p>
            <a:pPr marL="0" indent="0">
              <a:buFontTx/>
              <a:buNone/>
            </a:pPr>
            <a:r>
              <a:rPr lang="en-US" baseline="0" dirty="0"/>
              <a:t>[click]</a:t>
            </a:r>
          </a:p>
          <a:p>
            <a:pPr marL="0" indent="0">
              <a:buFontTx/>
              <a:buNone/>
            </a:pPr>
            <a:r>
              <a:rPr lang="en-US" baseline="0" dirty="0"/>
              <a:t>We introduce a new concept: a root database</a:t>
            </a:r>
          </a:p>
          <a:p>
            <a:pPr marL="0" indent="0">
              <a:buFontTx/>
              <a:buNone/>
            </a:pPr>
            <a:r>
              <a:rPr lang="en-US" baseline="0" dirty="0"/>
              <a:t>…Into which are plugged various PDBs</a:t>
            </a:r>
          </a:p>
          <a:p>
            <a:pPr marL="0" indent="0">
              <a:buFontTx/>
              <a:buNone/>
            </a:pPr>
            <a:r>
              <a:rPr lang="en-US" baseline="0" dirty="0"/>
              <a:t>…And the combination is referred to as a multitenant container database.</a:t>
            </a:r>
          </a:p>
          <a:p>
            <a:pPr marL="0" indent="0">
              <a:buFontTx/>
              <a:buNone/>
            </a:pPr>
            <a:endParaRPr lang="en-US" baseline="0" dirty="0"/>
          </a:p>
          <a:p>
            <a:pPr marL="0" indent="0">
              <a:buFontTx/>
              <a:buNone/>
            </a:pPr>
            <a:r>
              <a:rPr lang="en-US" baseline="0" dirty="0"/>
              <a:t>[click]</a:t>
            </a:r>
          </a:p>
          <a:p>
            <a:pPr marL="0" indent="0">
              <a:buFontTx/>
              <a:buNone/>
            </a:pPr>
            <a:r>
              <a:rPr lang="en-US" baseline="0" dirty="0"/>
              <a:t>That’s quite a mouthful, we we’ll abbreviate that as CDB.</a:t>
            </a:r>
          </a:p>
          <a:p>
            <a:pPr marL="0" indent="0">
              <a:buFontTx/>
              <a:buNone/>
            </a:pPr>
            <a:r>
              <a:rPr lang="en-US" baseline="0" dirty="0"/>
              <a:t>The pluggable databases are PDBs</a:t>
            </a:r>
          </a:p>
          <a:p>
            <a:pPr marL="0" indent="0">
              <a:buFontTx/>
              <a:buNone/>
            </a:pPr>
            <a:r>
              <a:rPr lang="en-US" baseline="0" dirty="0"/>
              <a:t>And Root is Root.</a:t>
            </a:r>
          </a:p>
          <a:p>
            <a:pPr marL="0" indent="0">
              <a:buFontTx/>
              <a:buNone/>
            </a:pPr>
            <a:endParaRPr lang="en-US" baseline="0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From an application’s point of view, it’s the PDB that’s the database. </a:t>
            </a:r>
          </a:p>
          <a:p>
            <a:pPr marL="0" indent="0">
              <a:buFontTx/>
              <a:buNone/>
            </a:pPr>
            <a:r>
              <a:rPr lang="en-US" baseline="0" dirty="0"/>
              <a:t>From the operations point of view, it’s the CDB that’s the database. </a:t>
            </a:r>
          </a:p>
          <a:p>
            <a:pPr marL="0" indent="0">
              <a:buFontTx/>
              <a:buNone/>
            </a:pPr>
            <a:endParaRPr lang="en-US" baseline="0" dirty="0"/>
          </a:p>
          <a:p>
            <a:pPr marL="0" indent="0">
              <a:buFontTx/>
              <a:buNone/>
            </a:pPr>
            <a:r>
              <a:rPr lang="en-US" baseline="0" dirty="0"/>
              <a:t>[click]</a:t>
            </a:r>
          </a:p>
          <a:p>
            <a:pPr marL="0" indent="0">
              <a:buFontTx/>
              <a:buNone/>
            </a:pPr>
            <a:r>
              <a:rPr lang="is-IS" baseline="0" dirty="0"/>
              <a:t>…and we can currently support up to 252 PDBs per CDB – quite a lot!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E0DC3D-6FE0-B542-8D21-8BAC2C7AB9E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2960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en-US" dirty="0"/>
              <a:t>In describing the efficiencies of the architecture, the sharing</a:t>
            </a:r>
            <a:r>
              <a:rPr lang="en-US" baseline="0" dirty="0"/>
              <a:t> of background processes and the SGA, we have explained how Multitenant can help reduce capital expenditure, by consolidating more applications per server.</a:t>
            </a:r>
          </a:p>
          <a:p>
            <a:pPr marL="0" indent="0">
              <a:buFontTx/>
              <a:buNone/>
            </a:pPr>
            <a:endParaRPr lang="en-US" baseline="0" dirty="0"/>
          </a:p>
          <a:p>
            <a:pPr marL="0" indent="0">
              <a:buFontTx/>
              <a:buNone/>
            </a:pPr>
            <a:r>
              <a:rPr lang="en-US" baseline="0" dirty="0"/>
              <a:t>At this stage, we transition to focus on the second major benefit of Multitenant.</a:t>
            </a:r>
          </a:p>
          <a:p>
            <a:pPr marL="0" indent="0">
              <a:buFontTx/>
              <a:buNone/>
            </a:pPr>
            <a:r>
              <a:rPr lang="en-US" baseline="0" dirty="0"/>
              <a:t>That is that we can reduce operating expenditure because of the ability to manage many databases as one. 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baseline="0" dirty="0"/>
              <a:t>Great data point: multiple total cost of ownership (TCO) studies conducted by IDC have found that over 60% of the average cost of running a database over any given 5 year period is represented by staff cost</a:t>
            </a:r>
          </a:p>
          <a:p>
            <a:pPr marL="0" indent="0">
              <a:buFontTx/>
              <a:buNone/>
            </a:pPr>
            <a:endParaRPr lang="en-US" baseline="0" dirty="0"/>
          </a:p>
          <a:p>
            <a:pPr marL="0" indent="0">
              <a:buFontTx/>
              <a:buNone/>
            </a:pPr>
            <a:r>
              <a:rPr lang="en-US" baseline="0" dirty="0"/>
              <a:t>A great example of managing many database as one, is backup. </a:t>
            </a:r>
          </a:p>
          <a:p>
            <a:pPr marL="0" indent="0">
              <a:buFontTx/>
              <a:buNone/>
            </a:pPr>
            <a:r>
              <a:rPr lang="en-US" baseline="0" dirty="0"/>
              <a:t>Remember that from an operations point of view, it’s the CDB that’s the database.</a:t>
            </a:r>
          </a:p>
          <a:p>
            <a:pPr marL="0" indent="0">
              <a:buFontTx/>
              <a:buNone/>
            </a:pPr>
            <a:r>
              <a:rPr lang="en-US" baseline="0" dirty="0"/>
              <a:t>Backup is an operational concept and therefore it follows that it applies at the level of the CDB. </a:t>
            </a:r>
          </a:p>
          <a:p>
            <a:pPr marL="0" indent="0">
              <a:buFontTx/>
              <a:buNone/>
            </a:pPr>
            <a:r>
              <a:rPr lang="en-US" baseline="0" dirty="0"/>
              <a:t>[click]</a:t>
            </a:r>
          </a:p>
          <a:p>
            <a:pPr marL="0" indent="0">
              <a:buFontTx/>
              <a:buNone/>
            </a:pPr>
            <a:r>
              <a:rPr lang="en-US" baseline="0" dirty="0"/>
              <a:t>We configure one backup at the level of the CDB and all PDBs are backed up as one. </a:t>
            </a:r>
          </a:p>
          <a:p>
            <a:pPr marL="0" indent="0">
              <a:buFontTx/>
              <a:buNone/>
            </a:pPr>
            <a:r>
              <a:rPr lang="en-US" baseline="0" dirty="0"/>
              <a:t>However, we retain the ability to perform point-in-time recovery (PITR) at the level of the individual PDB.</a:t>
            </a:r>
          </a:p>
          <a:p>
            <a:pPr marL="0" indent="0">
              <a:buFontTx/>
              <a:buNone/>
            </a:pPr>
            <a:endParaRPr lang="en-US" baseline="0" dirty="0"/>
          </a:p>
          <a:p>
            <a:pPr marL="0" indent="0">
              <a:buFontTx/>
              <a:buNone/>
            </a:pPr>
            <a:r>
              <a:rPr lang="en-US" baseline="0" dirty="0"/>
              <a:t>So, better stated, this benefit is</a:t>
            </a:r>
          </a:p>
          <a:p>
            <a:pPr marL="0" indent="0">
              <a:buFontTx/>
              <a:buNone/>
            </a:pPr>
            <a:r>
              <a:rPr lang="en-US" baseline="0" dirty="0"/>
              <a:t>“Manage many databases as one, but retain granular control where appropriate.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E82501-53DA-4152-84B0-51135B15EEA8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4925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en-US" dirty="0"/>
              <a:t>Another example of</a:t>
            </a:r>
            <a:r>
              <a:rPr lang="en-US" baseline="0" dirty="0"/>
              <a:t> managing many databases as one is the configuration of (active) data guard in a high-availability (HA) configuration.</a:t>
            </a:r>
          </a:p>
          <a:p>
            <a:pPr marL="0" indent="0">
              <a:buFontTx/>
              <a:buNone/>
            </a:pPr>
            <a:r>
              <a:rPr lang="en-US" baseline="0" dirty="0"/>
              <a:t>Again, HA configuration is an operational concept, and so we configure ADG at the CDB level. </a:t>
            </a:r>
          </a:p>
          <a:p>
            <a:pPr marL="0" indent="0">
              <a:buFontTx/>
              <a:buNone/>
            </a:pPr>
            <a:r>
              <a:rPr lang="en-US" baseline="0" dirty="0"/>
              <a:t>We have a single set of background processes, </a:t>
            </a:r>
          </a:p>
          <a:p>
            <a:pPr marL="0" indent="0">
              <a:buFontTx/>
              <a:buNone/>
            </a:pPr>
            <a:r>
              <a:rPr lang="en-US" baseline="0" dirty="0"/>
              <a:t>including a single log writer writing a single, consolidated redo stream. </a:t>
            </a:r>
          </a:p>
          <a:p>
            <a:pPr marL="0" indent="0">
              <a:buFontTx/>
              <a:buNone/>
            </a:pPr>
            <a:r>
              <a:rPr lang="en-US" baseline="0" dirty="0"/>
              <a:t>Transactions for all the PDBs in the production CDB are written to this single redo stream. </a:t>
            </a:r>
          </a:p>
          <a:p>
            <a:pPr marL="0" indent="0">
              <a:buFontTx/>
              <a:buNone/>
            </a:pPr>
            <a:r>
              <a:rPr lang="en-US" baseline="0" dirty="0"/>
              <a:t>This consolidated redo stream is replicated to the standby CDB. 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[click]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Plug in a new PDB into the production CDB…</a:t>
            </a:r>
          </a:p>
          <a:p>
            <a:pPr marL="0" indent="0">
              <a:buFontTx/>
              <a:buNone/>
            </a:pPr>
            <a:r>
              <a:rPr lang="en-US" baseline="0" dirty="0"/>
              <a:t>And you have a corresponding PDB in the standby</a:t>
            </a:r>
          </a:p>
          <a:p>
            <a:pPr marL="0" indent="0">
              <a:buFontTx/>
              <a:buNone/>
            </a:pPr>
            <a:r>
              <a:rPr lang="en-US" baseline="0" dirty="0"/>
              <a:t>Transactions in the new PDB are replicated to the standby automatically, </a:t>
            </a:r>
          </a:p>
          <a:p>
            <a:pPr marL="0" indent="0">
              <a:buFontTx/>
              <a:buNone/>
            </a:pPr>
            <a:r>
              <a:rPr lang="en-US" baseline="0" dirty="0"/>
              <a:t>just by virtue of plugging that PDB into the CDB in this Active Data Guard environment.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E0DC3D-6FE0-B542-8D21-8BAC2C7AB9E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4230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en-US" dirty="0"/>
              <a:t>Another example</a:t>
            </a:r>
            <a:r>
              <a:rPr lang="en-US" baseline="0" dirty="0"/>
              <a:t> of managing many as one with Oracle Multitenant is upgrading or patching. </a:t>
            </a:r>
          </a:p>
          <a:p>
            <a:pPr marL="0" indent="0">
              <a:buFontTx/>
              <a:buNone/>
            </a:pPr>
            <a:r>
              <a:rPr lang="en-US" baseline="0" dirty="0"/>
              <a:t>Patches and upgrades are applied at the multitenant container database level. </a:t>
            </a:r>
          </a:p>
          <a:p>
            <a:pPr marL="0" indent="0">
              <a:buFontTx/>
              <a:buNone/>
            </a:pPr>
            <a:r>
              <a:rPr lang="en-US" baseline="0" dirty="0"/>
              <a:t>[click]</a:t>
            </a:r>
          </a:p>
          <a:p>
            <a:pPr marL="0" indent="0">
              <a:buFontTx/>
              <a:buNone/>
            </a:pPr>
            <a:r>
              <a:rPr lang="en-US" baseline="0" dirty="0"/>
              <a:t>All PDBs in that CDB are automatically upgraded in one fell swoop. </a:t>
            </a:r>
            <a:endParaRPr lang="en-US" dirty="0"/>
          </a:p>
          <a:p>
            <a:endParaRPr lang="en-US" dirty="0"/>
          </a:p>
          <a:p>
            <a:r>
              <a:rPr lang="en-US" dirty="0"/>
              <a:t>You</a:t>
            </a:r>
            <a:r>
              <a:rPr lang="en-US" baseline="0" dirty="0"/>
              <a:t> may have noted a contradiction here. </a:t>
            </a:r>
          </a:p>
          <a:p>
            <a:r>
              <a:rPr lang="en-US" baseline="0" dirty="0"/>
              <a:t>Previously, when describing schema consolidation – a consolidation strategy that was quite successful in prior releases of Oracle Database – I mentioned that one of the downsides was that the flip-side to the advantage of being able to manage many databases as one was that you had no choice:</a:t>
            </a:r>
          </a:p>
          <a:p>
            <a:r>
              <a:rPr lang="en-US" baseline="0" dirty="0"/>
              <a:t>All databases, for example, had to be updated together, like it or not. </a:t>
            </a:r>
          </a:p>
          <a:p>
            <a:r>
              <a:rPr lang="en-US" baseline="0" dirty="0"/>
              <a:t>The “leading edge” databases had to wait for the majority to be ready. </a:t>
            </a:r>
          </a:p>
          <a:p>
            <a:r>
              <a:rPr lang="en-US" baseline="0" dirty="0"/>
              <a:t>The laggards, who, perhaps, have dependencies on third-party applications not yet certified with a new patch level, either hold the others back or are forced to upgrade before being fully certified. </a:t>
            </a:r>
          </a:p>
          <a:p>
            <a:r>
              <a:rPr lang="en-US" baseline="0" dirty="0"/>
              <a:t>What has just been described in this slide is no different…</a:t>
            </a:r>
          </a:p>
          <a:p>
            <a:r>
              <a:rPr lang="en-US" baseline="0" dirty="0"/>
              <a:t>[click for next slide]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E0DC3D-6FE0-B542-8D21-8BAC2C7AB9E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9278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9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jp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png"/><Relationship Id="rId4" Type="http://schemas.openxmlformats.org/officeDocument/2006/relationships/image" Target="../media/image5.jpe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png"/><Relationship Id="rId4" Type="http://schemas.openxmlformats.org/officeDocument/2006/relationships/image" Target="../media/image18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5.jpe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.png"/><Relationship Id="rId4" Type="http://schemas.openxmlformats.org/officeDocument/2006/relationships/image" Target="../media/image22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.png"/><Relationship Id="rId4" Type="http://schemas.openxmlformats.org/officeDocument/2006/relationships/image" Target="../media/image5.jpe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5.png"/><Relationship Id="rId4" Type="http://schemas.openxmlformats.org/officeDocument/2006/relationships/image" Target="../media/image27.sv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5.png"/><Relationship Id="rId4" Type="http://schemas.openxmlformats.org/officeDocument/2006/relationships/image" Target="../media/image27.sv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5.png"/><Relationship Id="rId4" Type="http://schemas.openxmlformats.org/officeDocument/2006/relationships/image" Target="../media/image27.sv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5.png"/><Relationship Id="rId4" Type="http://schemas.openxmlformats.org/officeDocument/2006/relationships/image" Target="../media/image27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5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5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5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5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5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5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5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5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5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Cov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F198333D-FF3E-E64D-8889-26B8EFCA26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6495E0F7-BDCD-40B6-ADD2-43E4A94DFE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85429" y="3138723"/>
            <a:ext cx="4421144" cy="580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6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Quot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4E879062-D42A-C24B-9506-CFFED71D40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47"/>
          <a:stretch/>
        </p:blipFill>
        <p:spPr>
          <a:xfrm>
            <a:off x="0" y="254000"/>
            <a:ext cx="5133848" cy="6626102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BD2CF4-1E90-A941-8678-001223FD41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54000"/>
            <a:ext cx="5133848" cy="6626102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55F6A82-2EA7-8C4D-A6E5-04849642E6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660ACC2F-3202-B843-8CCE-6D68B1FAAF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30545" y="4661231"/>
            <a:ext cx="6315978" cy="218094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63B99ECC-6BAB-0F46-88DB-26AE80C343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30545" y="4952092"/>
            <a:ext cx="6315978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3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26">
            <a:extLst>
              <a:ext uri="{FF2B5EF4-FFF2-40B4-BE49-F238E27FC236}">
                <a16:creationId xmlns:a16="http://schemas.microsoft.com/office/drawing/2014/main" id="{38A1ED2B-730F-DB4F-8E69-07241B0A49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30545" y="1850640"/>
            <a:ext cx="6315978" cy="225153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32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“Click to type customer or partner quote surrounded by quotation marks.”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44BA13B-C4E1-6147-9655-829168E5E266}"/>
              </a:ext>
            </a:extLst>
          </p:cNvPr>
          <p:cNvSpPr/>
          <p:nvPr userDrawn="1"/>
        </p:nvSpPr>
        <p:spPr>
          <a:xfrm>
            <a:off x="5430546" y="434263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lide Number Placeholder 1">
            <a:extLst>
              <a:ext uri="{FF2B5EF4-FFF2-40B4-BE49-F238E27FC236}">
                <a16:creationId xmlns:a16="http://schemas.microsoft.com/office/drawing/2014/main" id="{BEAECEC9-004F-624F-96D0-64C7FD44095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33621" y="6349718"/>
            <a:ext cx="386443" cy="365125"/>
          </a:xfr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EFB74B7-684A-0343-AB5E-04DBC7A25953}"/>
              </a:ext>
            </a:extLst>
          </p:cNvPr>
          <p:cNvSpPr txBox="1"/>
          <p:nvPr userDrawn="1"/>
        </p:nvSpPr>
        <p:spPr>
          <a:xfrm>
            <a:off x="944517" y="6415801"/>
            <a:ext cx="5984422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000" dirty="0">
                <a:solidFill>
                  <a:schemeClr val="tx2">
                    <a:lumMod val="60000"/>
                    <a:lumOff val="40000"/>
                  </a:schemeClr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Confidential – Oracle Internal/Restricted/Highly Restricte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4238AF8-3EBB-8C42-9D7F-306684D5258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866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Light Cov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44D8A55-64A2-6045-A65D-ED6F0635E2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4602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8FA1F9E-D869-45EF-85CD-8BB303511F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46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198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95817-C269-41DC-98C3-383216D99B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A67554-86D0-436B-A607-1B04B40495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30188" indent="-230188">
              <a:buClr>
                <a:schemeClr val="accent1"/>
              </a:buClr>
              <a:buSzPct val="70000"/>
              <a:buFont typeface="Arial" panose="020B0604020202020204" pitchFamily="34" charset="0"/>
              <a:buChar char="•"/>
              <a:tabLst/>
              <a:defRPr/>
            </a:lvl1pPr>
            <a:lvl2pPr marL="690563" indent="-233363">
              <a:buClr>
                <a:schemeClr val="accent1"/>
              </a:buClr>
              <a:buSzPct val="70000"/>
              <a:buFont typeface="Arial" panose="020B0604020202020204" pitchFamily="34" charset="0"/>
              <a:buChar char="•"/>
              <a:tabLst/>
              <a:defRPr/>
            </a:lvl2pPr>
            <a:lvl3pPr marL="1150938" indent="-236538">
              <a:buClr>
                <a:schemeClr val="accent1"/>
              </a:buClr>
              <a:buSzPct val="70000"/>
              <a:buFont typeface="Arial" panose="020B0604020202020204" pitchFamily="34" charset="0"/>
              <a:buChar char="•"/>
              <a:tabLst/>
              <a:defRPr/>
            </a:lvl3pPr>
            <a:lvl4pPr marL="1603375" indent="-231775">
              <a:buClr>
                <a:schemeClr val="accent1"/>
              </a:buClr>
              <a:buSzPct val="70000"/>
              <a:buFont typeface="Arial" panose="020B0604020202020204" pitchFamily="34" charset="0"/>
              <a:buChar char="•"/>
              <a:tabLst/>
              <a:defRPr/>
            </a:lvl4pPr>
            <a:lvl5pPr marL="2063750" indent="-234950">
              <a:buClr>
                <a:schemeClr val="accent1"/>
              </a:buClr>
              <a:buSzPct val="70000"/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BB65E720-ABD2-CB40-960C-19979F6A65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39851" y="6514979"/>
            <a:ext cx="3792589" cy="365125"/>
          </a:xfrm>
        </p:spPr>
        <p:txBody>
          <a:bodyPr/>
          <a:lstStyle/>
          <a:p>
            <a:r>
              <a:rPr lang="en-US" sz="800"/>
              <a:t>Confidential – © 2019 Oracle and Santander Highly Restricted </a:t>
            </a:r>
            <a:endParaRPr lang="en-US" sz="800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281FACDB-74EA-704F-8BA0-BD67213620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1287" y="6507625"/>
            <a:ext cx="5785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fld id="{D440507A-669E-A943-A4A7-E531D638091A}" type="slidenum">
              <a:rPr lang="en-US" smtClean="0">
                <a:solidFill>
                  <a:srgbClr val="4E3629">
                    <a:tint val="75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4E362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68522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srgbClr val="58595B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58595B"/>
                </a:solidFill>
              </a:rPr>
              <a:t>Confidential – © 2019 Oracle and Santander Highly Restricted </a:t>
            </a:r>
            <a:endParaRPr dirty="0">
              <a:solidFill>
                <a:srgbClr val="58595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EAA63-D034-42AE-91FA-B13B9518C7BE}" type="slidenum">
              <a:rPr>
                <a:solidFill>
                  <a:srgbClr val="58595B"/>
                </a:solidFill>
              </a:rPr>
              <a:pPr/>
              <a:t>‹Nº›</a:t>
            </a:fld>
            <a:endParaRPr dirty="0">
              <a:solidFill>
                <a:srgbClr val="58595B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7215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27"/>
          <p:cNvSpPr>
            <a:spLocks noGrp="1"/>
          </p:cNvSpPr>
          <p:nvPr>
            <p:ph type="body" sz="quarter" idx="13" hasCustomPrompt="1"/>
          </p:nvPr>
        </p:nvSpPr>
        <p:spPr>
          <a:xfrm>
            <a:off x="339813" y="715963"/>
            <a:ext cx="11515549" cy="379412"/>
          </a:xfrm>
        </p:spPr>
        <p:txBody>
          <a:bodyPr/>
          <a:lstStyle>
            <a:lvl1pPr marL="0" indent="0">
              <a:buNone/>
              <a:defRPr sz="1800"/>
            </a:lvl1pPr>
            <a:lvl2pPr marL="260350" indent="0">
              <a:buNone/>
              <a:defRPr/>
            </a:lvl2pPr>
            <a:lvl3pPr marL="500062" indent="0">
              <a:buNone/>
              <a:defRPr/>
            </a:lvl3pPr>
            <a:lvl4pPr marL="676275" indent="0">
              <a:buNone/>
              <a:defRPr/>
            </a:lvl4pPr>
            <a:lvl5pPr marL="85883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365DCE-8337-46CD-857A-602B97D747A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7C44DC-F45C-4D94-96EC-96DC3CAA6F18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70373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ight - Title/Subtitle 4 Colum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Data Texture Cloud">
            <a:extLst>
              <a:ext uri="{FF2B5EF4-FFF2-40B4-BE49-F238E27FC236}">
                <a16:creationId xmlns:a16="http://schemas.microsoft.com/office/drawing/2014/main" id="{BD09BE5E-B760-8549-A8BC-E223A297FC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8609"/>
          <a:stretch/>
        </p:blipFill>
        <p:spPr>
          <a:xfrm>
            <a:off x="9881411" y="521208"/>
            <a:ext cx="2310589" cy="1700784"/>
          </a:xfrm>
          <a:prstGeom prst="rect">
            <a:avLst/>
          </a:prstGeom>
        </p:spPr>
      </p:pic>
      <p:pic>
        <p:nvPicPr>
          <p:cNvPr id="23" name="OTag">
            <a:extLst>
              <a:ext uri="{FF2B5EF4-FFF2-40B4-BE49-F238E27FC236}">
                <a16:creationId xmlns:a16="http://schemas.microsoft.com/office/drawing/2014/main" id="{EBAE077C-DB09-ED47-8D39-D0B8EC31F86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sp>
        <p:nvSpPr>
          <p:cNvPr id="22" name="Footer">
            <a:extLst>
              <a:ext uri="{FF2B5EF4-FFF2-40B4-BE49-F238E27FC236}">
                <a16:creationId xmlns:a16="http://schemas.microsoft.com/office/drawing/2014/main" id="{74B95F78-71AA-7641-8496-F7ABCE92E0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27759" y="6423978"/>
            <a:ext cx="574537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rgbClr val="8B8580"/>
                </a:solidFill>
              </a:defRPr>
            </a:lvl1pPr>
          </a:lstStyle>
          <a:p>
            <a:r>
              <a:rPr lang="en-US" dirty="0"/>
              <a:t>Copyright © 2020, Oracle and/or its affiliates  |  Confidential: Internal/Restricted/Highly Restricted</a:t>
            </a: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33487866-D41F-8C4E-BEA1-BDF786DFA5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00" y="6423660"/>
            <a:ext cx="365760" cy="3657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rgbClr val="8B8580"/>
                </a:solidFill>
              </a:defRPr>
            </a:lvl1pPr>
          </a:lstStyle>
          <a:p>
            <a:fld id="{345D60D9-5372-5F40-9443-0F9AE5BDC3C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35" name="Text Field">
            <a:extLst>
              <a:ext uri="{FF2B5EF4-FFF2-40B4-BE49-F238E27FC236}">
                <a16:creationId xmlns:a16="http://schemas.microsoft.com/office/drawing/2014/main" id="{339804BB-2EA6-8C4F-866E-E719BA537F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53500" y="1837944"/>
            <a:ext cx="2478024" cy="4261104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cxnSp>
        <p:nvCxnSpPr>
          <p:cNvPr id="30" name="Column Divider">
            <a:extLst>
              <a:ext uri="{FF2B5EF4-FFF2-40B4-BE49-F238E27FC236}">
                <a16:creationId xmlns:a16="http://schemas.microsoft.com/office/drawing/2014/main" id="{69DCFAC0-F500-FF4B-9DC2-971161B458E5}"/>
              </a:ext>
            </a:extLst>
          </p:cNvPr>
          <p:cNvCxnSpPr/>
          <p:nvPr userDrawn="1"/>
        </p:nvCxnSpPr>
        <p:spPr>
          <a:xfrm>
            <a:off x="8826500" y="1838958"/>
            <a:ext cx="0" cy="4261104"/>
          </a:xfrm>
          <a:prstGeom prst="line">
            <a:avLst/>
          </a:prstGeom>
          <a:ln w="19050" cap="flat">
            <a:solidFill>
              <a:srgbClr val="8B8580">
                <a:alpha val="25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Field">
            <a:extLst>
              <a:ext uri="{FF2B5EF4-FFF2-40B4-BE49-F238E27FC236}">
                <a16:creationId xmlns:a16="http://schemas.microsoft.com/office/drawing/2014/main" id="{32015544-9835-C645-A5B4-B9C3710188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1476" y="1837944"/>
            <a:ext cx="2478024" cy="4261104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cxnSp>
        <p:nvCxnSpPr>
          <p:cNvPr id="29" name="Column Divider">
            <a:extLst>
              <a:ext uri="{FF2B5EF4-FFF2-40B4-BE49-F238E27FC236}">
                <a16:creationId xmlns:a16="http://schemas.microsoft.com/office/drawing/2014/main" id="{6D056399-51EB-AC43-94D0-5FE8C7D62D3A}"/>
              </a:ext>
            </a:extLst>
          </p:cNvPr>
          <p:cNvCxnSpPr/>
          <p:nvPr userDrawn="1"/>
        </p:nvCxnSpPr>
        <p:spPr>
          <a:xfrm>
            <a:off x="6096000" y="1838958"/>
            <a:ext cx="0" cy="4261104"/>
          </a:xfrm>
          <a:prstGeom prst="line">
            <a:avLst/>
          </a:prstGeom>
          <a:ln w="19050" cap="flat">
            <a:solidFill>
              <a:srgbClr val="8B8580">
                <a:alpha val="25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Field">
            <a:extLst>
              <a:ext uri="{FF2B5EF4-FFF2-40B4-BE49-F238E27FC236}">
                <a16:creationId xmlns:a16="http://schemas.microsoft.com/office/drawing/2014/main" id="{8936CF8B-824C-6D43-87AC-7D28E5F4AF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92500" y="1837944"/>
            <a:ext cx="2478024" cy="4261104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cxnSp>
        <p:nvCxnSpPr>
          <p:cNvPr id="28" name="Column Divider">
            <a:extLst>
              <a:ext uri="{FF2B5EF4-FFF2-40B4-BE49-F238E27FC236}">
                <a16:creationId xmlns:a16="http://schemas.microsoft.com/office/drawing/2014/main" id="{EAAA606E-CE35-0449-B08C-449A1A629AD6}"/>
              </a:ext>
            </a:extLst>
          </p:cNvPr>
          <p:cNvCxnSpPr/>
          <p:nvPr userDrawn="1"/>
        </p:nvCxnSpPr>
        <p:spPr>
          <a:xfrm>
            <a:off x="3365500" y="1838958"/>
            <a:ext cx="0" cy="4261104"/>
          </a:xfrm>
          <a:prstGeom prst="line">
            <a:avLst/>
          </a:prstGeom>
          <a:ln w="19050" cap="flat">
            <a:solidFill>
              <a:srgbClr val="8B8580">
                <a:alpha val="25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Field">
            <a:extLst>
              <a:ext uri="{FF2B5EF4-FFF2-40B4-BE49-F238E27FC236}">
                <a16:creationId xmlns:a16="http://schemas.microsoft.com/office/drawing/2014/main" id="{BBD3C9DD-1023-264E-8B2E-C3737E9E5BB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8951" y="1837944"/>
            <a:ext cx="2478024" cy="4261104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cxnSp>
        <p:nvCxnSpPr>
          <p:cNvPr id="27" name="Accent Mark">
            <a:extLst>
              <a:ext uri="{FF2B5EF4-FFF2-40B4-BE49-F238E27FC236}">
                <a16:creationId xmlns:a16="http://schemas.microsoft.com/office/drawing/2014/main" id="{3AC36BFD-AA0C-534A-ACB9-5B4A91277AB9}"/>
              </a:ext>
            </a:extLst>
          </p:cNvPr>
          <p:cNvCxnSpPr>
            <a:cxnSpLocks/>
          </p:cNvCxnSpPr>
          <p:nvPr userDrawn="1"/>
        </p:nvCxnSpPr>
        <p:spPr>
          <a:xfrm flipH="1">
            <a:off x="768095" y="1584959"/>
            <a:ext cx="320040" cy="0"/>
          </a:xfrm>
          <a:prstGeom prst="line">
            <a:avLst/>
          </a:prstGeom>
          <a:ln w="38100" cap="flat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ubtitle">
            <a:extLst>
              <a:ext uri="{FF2B5EF4-FFF2-40B4-BE49-F238E27FC236}">
                <a16:creationId xmlns:a16="http://schemas.microsoft.com/office/drawing/2014/main" id="{0F29B488-9E06-2A4D-AE0A-AEDAC8C00C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1000420"/>
            <a:ext cx="10671048" cy="33054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spcAft>
                <a:spcPts val="0"/>
              </a:spcAft>
              <a:buNone/>
              <a:defRPr sz="20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0F194A7A-6F4C-2E4D-9455-39C5AB9DA0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508000"/>
            <a:ext cx="10671048" cy="492103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itle</a:t>
            </a:r>
          </a:p>
        </p:txBody>
      </p:sp>
      <p:pic>
        <p:nvPicPr>
          <p:cNvPr id="13" name="Abstract Pattern Strip">
            <a:extLst>
              <a:ext uri="{FF2B5EF4-FFF2-40B4-BE49-F238E27FC236}">
                <a16:creationId xmlns:a16="http://schemas.microsoft.com/office/drawing/2014/main" id="{86CFE0F6-D0AB-E843-A2CE-635D3678C9D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187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1" pos="2664">
          <p15:clr>
            <a:srgbClr val="FBAE40"/>
          </p15:clr>
        </p15:guide>
        <p15:guide id="12" pos="4848">
          <p15:clr>
            <a:srgbClr val="FBAE40"/>
          </p15:clr>
        </p15:guide>
        <p15:guide id="13" pos="2544">
          <p15:clr>
            <a:srgbClr val="FBAE40"/>
          </p15:clr>
        </p15:guide>
        <p15:guide id="14" pos="4728">
          <p15:clr>
            <a:srgbClr val="FBAE40"/>
          </p15:clr>
        </p15:guide>
        <p15:guide id="15" pos="691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Quote with pictur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E7EFAFBA-C533-AF47-8C5A-87A1579768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A203EF7-0022-9042-AE87-EABCBB9B126E}"/>
              </a:ext>
            </a:extLst>
          </p:cNvPr>
          <p:cNvSpPr/>
          <p:nvPr userDrawn="1"/>
        </p:nvSpPr>
        <p:spPr>
          <a:xfrm>
            <a:off x="722371" y="587874"/>
            <a:ext cx="10747258" cy="5682253"/>
          </a:xfrm>
          <a:prstGeom prst="rect">
            <a:avLst/>
          </a:prstGeom>
          <a:solidFill>
            <a:srgbClr val="E0E2E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26">
            <a:extLst>
              <a:ext uri="{FF2B5EF4-FFF2-40B4-BE49-F238E27FC236}">
                <a16:creationId xmlns:a16="http://schemas.microsoft.com/office/drawing/2014/main" id="{F65EEC53-4965-C84F-B964-03CF9283D5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0214" y="1101969"/>
            <a:ext cx="9165494" cy="2975336"/>
          </a:xfrm>
        </p:spPr>
        <p:txBody>
          <a:bodyPr lIns="0" anchor="b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32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“Click to type customer or partner quote surrounded by quotation marks.”</a:t>
            </a:r>
          </a:p>
        </p:txBody>
      </p:sp>
      <p:sp>
        <p:nvSpPr>
          <p:cNvPr id="31" name="Text Placeholder 26">
            <a:extLst>
              <a:ext uri="{FF2B5EF4-FFF2-40B4-BE49-F238E27FC236}">
                <a16:creationId xmlns:a16="http://schemas.microsoft.com/office/drawing/2014/main" id="{1AD57123-EDE4-954E-9A92-A3083B1C27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30214" y="4637490"/>
            <a:ext cx="9165494" cy="249346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9C7075CA-1EBB-F043-A768-C5814E1A584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30214" y="4962513"/>
            <a:ext cx="9165494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3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BC74FEB-50F3-4449-8D38-99E6A564975E}"/>
              </a:ext>
            </a:extLst>
          </p:cNvPr>
          <p:cNvSpPr/>
          <p:nvPr userDrawn="1"/>
        </p:nvSpPr>
        <p:spPr>
          <a:xfrm>
            <a:off x="1530215" y="430369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066F36DD-F60C-6546-9240-CD06125DC85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33621" y="6349718"/>
            <a:ext cx="38644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272AD2F-E71B-794F-9680-FD1C16A0CC41}"/>
              </a:ext>
            </a:extLst>
          </p:cNvPr>
          <p:cNvSpPr txBox="1"/>
          <p:nvPr userDrawn="1"/>
        </p:nvSpPr>
        <p:spPr>
          <a:xfrm>
            <a:off x="944517" y="6415801"/>
            <a:ext cx="5984422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Confidential – Oracle Internal/Restricted/Highly Restricted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8583B7E-CE5D-AD4D-B063-8E5D2E58D0E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972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-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4508411"/>
            <a:ext cx="5854818" cy="23419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B599F-269A-4E45-BB4E-31A49D23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6"/>
            <a:ext cx="9887834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itle-Only Layou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354AA-8715-3B44-8031-FEACECD4374F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C190DBB-69E8-094F-9F7D-5D6A482AA94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1AD6C94-D81A-4373-BA17-63D490F7AB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2233A9-8B36-4159-8975-F1366CB54C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7842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Light Title and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4508411"/>
            <a:ext cx="5854818" cy="23419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B599F-269A-4E45-BB4E-31A49D23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6"/>
            <a:ext cx="9887834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itle and Subtitle Layo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86EFD9-8225-47A7-9DFF-A350F67E94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68095" y="2288559"/>
            <a:ext cx="9887835" cy="336037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kern="0" spc="0" baseline="0">
                <a:solidFill>
                  <a:srgbClr val="4A362B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Duis vitae </a:t>
            </a:r>
            <a:r>
              <a:rPr lang="en-US" dirty="0" err="1"/>
              <a:t>interdum</a:t>
            </a:r>
            <a:r>
              <a:rPr lang="en-US" dirty="0"/>
              <a:t> diam, non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etus</a:t>
            </a:r>
            <a:r>
              <a:rPr lang="en-US" dirty="0"/>
              <a:t> sed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354AA-8715-3B44-8031-FEACECD4374F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0A31DDD-B87C-9941-AC16-648C97686F8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307A0B-BD36-4925-BB53-F5C39932C52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9B5254-C1BE-4BD7-AEA0-11CA078C989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934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 with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260AB3B5-6759-364A-B98F-4622117D77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4508411"/>
            <a:ext cx="5854818" cy="2341927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B46B041F-833F-AB4C-9680-F86574375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5" y="783026"/>
            <a:ext cx="10210297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wo Content Layout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EF88010-6F25-0949-962C-71A71BBDD2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AE5D2D5-96D0-7047-93E6-327A01072B11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AD7BD674-7999-F54A-88FF-3F982D4775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68095" y="2289175"/>
            <a:ext cx="502920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0A188CAD-EDD5-0B4B-ACA6-7BB921B673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49192" y="2289175"/>
            <a:ext cx="502920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C89915E-3BB4-984C-995B-EC93CAB6F86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7BE2BE7-A786-40D1-899E-BA0BC0A3062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BFAA5D-3D6F-42A2-BC58-445E0F3D633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344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 with 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260AB3B5-6759-364A-B98F-4622117D77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4508411"/>
            <a:ext cx="5854818" cy="2341927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B46B041F-833F-AB4C-9680-F86574375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5" y="783026"/>
            <a:ext cx="10210297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hree Content Layout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EF88010-6F25-0949-962C-71A71BBDD2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AE5D2D5-96D0-7047-93E6-327A01072B11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AD7BD674-7999-F54A-88FF-3F982D4775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68095" y="2289175"/>
            <a:ext cx="327147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8BB1C4CD-239E-1A45-BED4-F5593A57A2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37508" y="2289175"/>
            <a:ext cx="327147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33">
            <a:extLst>
              <a:ext uri="{FF2B5EF4-FFF2-40B4-BE49-F238E27FC236}">
                <a16:creationId xmlns:a16="http://schemas.microsoft.com/office/drawing/2014/main" id="{C944C2F4-C444-E840-AF85-154A3F44C6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706922" y="2289175"/>
            <a:ext cx="327147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AD64B38-6D6E-134B-A424-A829933EEF4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4C75FCB-2F08-4218-8648-A3F1B1E55A7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DDCF91-9764-4404-A8F5-D333B2B56FE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0318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Quadrant for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260AB3B5-6759-364A-B98F-4622117D77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4508411"/>
            <a:ext cx="5854818" cy="2341927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B46B041F-833F-AB4C-9680-F86574375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5" y="783026"/>
            <a:ext cx="10210297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Quadrant for infographics Layout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EF88010-6F25-0949-962C-71A71BBDD2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AE5D2D5-96D0-7047-93E6-327A01072B11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83F18B1C-2F6B-9349-8DAB-48E7D54A83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04246" y="4162024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2" name="Text Placeholder 33">
            <a:extLst>
              <a:ext uri="{FF2B5EF4-FFF2-40B4-BE49-F238E27FC236}">
                <a16:creationId xmlns:a16="http://schemas.microsoft.com/office/drawing/2014/main" id="{0EF89F6D-A8E2-0348-8488-D69D629143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04270" y="2271143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4" name="Text Placeholder 33">
            <a:extLst>
              <a:ext uri="{FF2B5EF4-FFF2-40B4-BE49-F238E27FC236}">
                <a16:creationId xmlns:a16="http://schemas.microsoft.com/office/drawing/2014/main" id="{A0723324-5918-2C42-9A87-949E736CBF1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04270" y="4162024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B4578909-EA57-4049-8339-75544D89FC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204246" y="2278497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Lorem ipsum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6FDFA13-DE4E-D74A-967B-DF86B2E0187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6AC52EB-2486-4E8F-B076-394C9E4D6BB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FE87C6-A422-44C8-ACAF-34E689290F23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8160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Metr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D46810D-06AF-8048-A8FC-EB9C64BA98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1286" y="2275167"/>
            <a:ext cx="1906500" cy="914400"/>
          </a:xfrm>
        </p:spPr>
        <p:txBody>
          <a:bodyPr lIns="0" rIns="0">
            <a:noAutofit/>
          </a:bodyPr>
          <a:lstStyle>
            <a:lvl1pPr>
              <a:defRPr sz="6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4354AFA5-AF57-6040-82D7-328298E6DA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286" y="3231646"/>
            <a:ext cx="4371153" cy="914400"/>
          </a:xfr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1800" b="0" i="0">
                <a:solidFill>
                  <a:srgbClr val="4A362B"/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Duis vitae </a:t>
            </a:r>
            <a:r>
              <a:rPr lang="en-US" dirty="0" err="1"/>
              <a:t>interdum</a:t>
            </a:r>
            <a:r>
              <a:rPr lang="en-US" dirty="0"/>
              <a:t> diam, non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D1D0A30-5593-40C9-9453-438629C2E1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A02545-480D-4E7B-9346-BAF45A820D1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35EE8B-95EA-4038-994D-5F9FD147E4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0"/>
            <a:ext cx="609600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85AD46E-6202-4D45-AEE6-9E3FC0694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807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hank yo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building, clothing&#10;&#10;Description automatically generated">
            <a:extLst>
              <a:ext uri="{FF2B5EF4-FFF2-40B4-BE49-F238E27FC236}">
                <a16:creationId xmlns:a16="http://schemas.microsoft.com/office/drawing/2014/main" id="{B16600C8-A851-494D-A5DF-470343F874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2A2E959E-F30E-F643-947E-CE66F05DD80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Text Placeholder 26">
            <a:extLst>
              <a:ext uri="{FF2B5EF4-FFF2-40B4-BE49-F238E27FC236}">
                <a16:creationId xmlns:a16="http://schemas.microsoft.com/office/drawing/2014/main" id="{2AFE612B-3DB1-C64D-BD3B-51ECDB8CE4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095" y="2346183"/>
            <a:ext cx="4257726" cy="2242890"/>
          </a:xfrm>
        </p:spPr>
        <p:txBody>
          <a:bodyPr lIns="0" anchor="ctr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4000" b="0" i="0">
                <a:solidFill>
                  <a:srgbClr val="4E3629"/>
                </a:solidFill>
                <a:latin typeface="Georgia" panose="02040502050405020303" pitchFamily="18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0" name="Text Placeholder 26">
            <a:extLst>
              <a:ext uri="{FF2B5EF4-FFF2-40B4-BE49-F238E27FC236}">
                <a16:creationId xmlns:a16="http://schemas.microsoft.com/office/drawing/2014/main" id="{7F794D52-5437-F64A-97D5-34BE49EA9B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8095" y="5239646"/>
            <a:ext cx="4257726" cy="249346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1" name="Text Placeholder 26">
            <a:extLst>
              <a:ext uri="{FF2B5EF4-FFF2-40B4-BE49-F238E27FC236}">
                <a16:creationId xmlns:a16="http://schemas.microsoft.com/office/drawing/2014/main" id="{1975E737-A6D5-0E4E-AA04-5FECD0BE96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68095" y="5564669"/>
            <a:ext cx="4257726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ECAD913-B3D1-D145-A54B-58496F5971A5}"/>
              </a:ext>
            </a:extLst>
          </p:cNvPr>
          <p:cNvSpPr/>
          <p:nvPr userDrawn="1"/>
        </p:nvSpPr>
        <p:spPr>
          <a:xfrm>
            <a:off x="768096" y="4829530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EF0904C-A879-D843-B633-25611F0A9B7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411D17-F083-41F6-918B-798D71F778A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C0E5B1C-BBF2-49B4-9888-69F0DADBBD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921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hank you 2">
    <p:bg>
      <p:bgPr>
        <a:solidFill>
          <a:srgbClr val="723E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7E9993A3-6C44-3E43-901B-8B5EA2ACF64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9A101D4-18B6-9A46-8025-E830A44D3C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2" name="Text Placeholder 26">
            <a:extLst>
              <a:ext uri="{FF2B5EF4-FFF2-40B4-BE49-F238E27FC236}">
                <a16:creationId xmlns:a16="http://schemas.microsoft.com/office/drawing/2014/main" id="{CD757BAF-41C4-7642-A4DE-49E96BDAD7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095" y="2346183"/>
            <a:ext cx="4257726" cy="2242890"/>
          </a:xfrm>
        </p:spPr>
        <p:txBody>
          <a:bodyPr lIns="0" anchor="ctr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4000" b="0" i="0">
                <a:solidFill>
                  <a:schemeClr val="bg1"/>
                </a:solidFill>
                <a:latin typeface="Georgia" panose="02040502050405020303" pitchFamily="18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15" name="Text Placeholder 26">
            <a:extLst>
              <a:ext uri="{FF2B5EF4-FFF2-40B4-BE49-F238E27FC236}">
                <a16:creationId xmlns:a16="http://schemas.microsoft.com/office/drawing/2014/main" id="{63FD2FE0-050F-8C48-9CCE-7426577AFA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8095" y="5239646"/>
            <a:ext cx="4257726" cy="249346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solidFill>
                  <a:schemeClr val="bg1"/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6" name="Text Placeholder 26">
            <a:extLst>
              <a:ext uri="{FF2B5EF4-FFF2-40B4-BE49-F238E27FC236}">
                <a16:creationId xmlns:a16="http://schemas.microsoft.com/office/drawing/2014/main" id="{9B9976F2-AC01-0B48-8E64-DD931422FA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68095" y="5564669"/>
            <a:ext cx="4257726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6E9DA60-A8F5-5C46-87BD-583E2F3FB50A}"/>
              </a:ext>
            </a:extLst>
          </p:cNvPr>
          <p:cNvSpPr/>
          <p:nvPr userDrawn="1"/>
        </p:nvSpPr>
        <p:spPr>
          <a:xfrm>
            <a:off x="768096" y="4829530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8DA1F36F-A66E-2744-9B9A-0F241EF7D8E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-786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D5DCFC1-0F99-EB42-9252-693A872EE5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727DC7F-5A5A-4C5E-9803-014AD28FF47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FF94833-4AC2-476E-A6DE-A03E7A4DDD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93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 slide with pictur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08427B9D-AAC0-4043-8DC3-58E7B3497D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" y="0"/>
            <a:ext cx="12192000" cy="6858000"/>
          </a:xfrm>
          <a:custGeom>
            <a:avLst/>
            <a:gdLst>
              <a:gd name="connsiteX0" fmla="*/ 722372 w 12192000"/>
              <a:gd name="connsiteY0" fmla="*/ 587874 h 6858000"/>
              <a:gd name="connsiteX1" fmla="*/ 722372 w 12192000"/>
              <a:gd name="connsiteY1" fmla="*/ 6270127 h 6858000"/>
              <a:gd name="connsiteX2" fmla="*/ 11469630 w 12192000"/>
              <a:gd name="connsiteY2" fmla="*/ 6270127 h 6858000"/>
              <a:gd name="connsiteX3" fmla="*/ 11469630 w 12192000"/>
              <a:gd name="connsiteY3" fmla="*/ 58787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22372" y="587874"/>
                </a:moveTo>
                <a:lnTo>
                  <a:pt x="722372" y="6270127"/>
                </a:lnTo>
                <a:lnTo>
                  <a:pt x="11469630" y="6270127"/>
                </a:lnTo>
                <a:lnTo>
                  <a:pt x="11469630" y="58787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9840B289-DD9F-42D1-BB13-0675E99B75B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5316" y="834553"/>
            <a:ext cx="1325468" cy="17405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C08E0869-9921-1B40-A001-9F36EFAFD2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3611" y="3892527"/>
            <a:ext cx="10073301" cy="1830180"/>
          </a:xfrm>
        </p:spPr>
        <p:txBody>
          <a:bodyPr lIns="0" rIns="0">
            <a:noAutofit/>
          </a:bodyPr>
          <a:lstStyle>
            <a:lvl1pPr marL="0" indent="0">
              <a:lnSpc>
                <a:spcPts val="1400"/>
              </a:lnSpc>
              <a:buFont typeface="+mj-lt"/>
              <a:buNone/>
              <a:defRPr sz="1600" b="0" i="0">
                <a:solidFill>
                  <a:schemeClr val="accent2">
                    <a:lumMod val="50000"/>
                  </a:schemeClr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presenter’s name, title, division/business unit/organization and date</a:t>
            </a:r>
          </a:p>
          <a:p>
            <a:pPr lvl="0"/>
            <a:endParaRPr lang="en-US" dirty="0"/>
          </a:p>
        </p:txBody>
      </p:sp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268194"/>
            <a:ext cx="10076344" cy="9099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214300"/>
            <a:ext cx="10076344" cy="416073"/>
          </a:xfrm>
        </p:spPr>
        <p:txBody>
          <a:bodyPr wrap="none"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92EBD4F-0442-764D-95B1-7BB4691D116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8AB6B7-FC6F-4EEC-B0F1-9C335F9667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5F679F-0E14-4249-A487-FC23DA4493B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0008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without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1952" y="739776"/>
            <a:ext cx="11128097" cy="1470025"/>
          </a:xfrm>
        </p:spPr>
        <p:txBody>
          <a:bodyPr/>
          <a:lstStyle>
            <a:lvl1pPr>
              <a:lnSpc>
                <a:spcPct val="80000"/>
              </a:lnSpc>
              <a:defRPr sz="4800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1902" y="2286000"/>
            <a:ext cx="11129546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31952" y="3429452"/>
            <a:ext cx="11128097" cy="2514149"/>
          </a:xfrm>
        </p:spPr>
        <p:txBody>
          <a:bodyPr>
            <a:noAutofit/>
          </a:bodyPr>
          <a:lstStyle>
            <a:lvl1pPr marL="1588" indent="0">
              <a:spcBef>
                <a:spcPts val="0"/>
              </a:spcBef>
              <a:buFontTx/>
              <a:buNone/>
              <a:defRPr sz="2400" baseline="0"/>
            </a:lvl1pPr>
            <a:lvl2pPr marL="1588" indent="0">
              <a:buFontTx/>
              <a:buNone/>
              <a:defRPr sz="2400"/>
            </a:lvl2pPr>
            <a:lvl3pPr marL="1588" indent="0">
              <a:buFontTx/>
              <a:buNone/>
              <a:defRPr sz="2400"/>
            </a:lvl3pPr>
            <a:lvl4pPr marL="1588" indent="0">
              <a:buFontTx/>
              <a:buNone/>
              <a:defRPr sz="2400"/>
            </a:lvl4pPr>
            <a:lvl5pPr marL="1588" indent="0">
              <a:buFontTx/>
              <a:buNone/>
              <a:defRPr sz="2400"/>
            </a:lvl5pPr>
            <a:lvl6pPr marL="1588" indent="0">
              <a:buFontTx/>
              <a:buNone/>
              <a:defRPr sz="2400"/>
            </a:lvl6pPr>
            <a:lvl7pPr marL="1588" indent="0">
              <a:buFontTx/>
              <a:buNone/>
              <a:defRPr sz="2400"/>
            </a:lvl7pPr>
            <a:lvl8pPr marL="1588" indent="0">
              <a:buFontTx/>
              <a:buNone/>
              <a:defRPr sz="2400"/>
            </a:lvl8pPr>
            <a:lvl9pPr marL="1588" indent="0">
              <a:buFontTx/>
              <a:buNone/>
              <a:defRPr sz="2400"/>
            </a:lvl9pPr>
          </a:lstStyle>
          <a:p>
            <a:pPr lvl="0"/>
            <a:r>
              <a:rPr dirty="0"/>
              <a:t>Click to add presenter’s name, title, division/business unit/organization and dat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5F5F5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5F5F5F"/>
                </a:solidFill>
              </a:defRPr>
            </a:lvl1pPr>
          </a:lstStyle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5378072" y="6556248"/>
            <a:ext cx="3201234" cy="18288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pPr algn="r"/>
            <a:r>
              <a:rPr sz="850" dirty="0">
                <a:solidFill>
                  <a:srgbClr val="5F5F5F"/>
                </a:solidFill>
              </a:rPr>
              <a:t>Copyright © 201</a:t>
            </a:r>
            <a:r>
              <a:rPr lang="en-US" sz="850" dirty="0">
                <a:solidFill>
                  <a:srgbClr val="5F5F5F"/>
                </a:solidFill>
              </a:rPr>
              <a:t>9,</a:t>
            </a:r>
            <a:r>
              <a:rPr sz="850" dirty="0">
                <a:solidFill>
                  <a:srgbClr val="5F5F5F"/>
                </a:solidFill>
              </a:rPr>
              <a:t> Oracle and/or its affiliates. All rights reserved.  |</a:t>
            </a:r>
          </a:p>
        </p:txBody>
      </p:sp>
      <p:pic>
        <p:nvPicPr>
          <p:cNvPr id="9" name="Picture 8" descr="Oracle logo in white on red staging background" title="Oracle red badge logo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90" y="6263640"/>
            <a:ext cx="1625561" cy="594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904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BB65E720-ABD2-CB40-960C-19979F6A65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39850" y="6514977"/>
            <a:ext cx="3792589" cy="365125"/>
          </a:xfrm>
        </p:spPr>
        <p:txBody>
          <a:bodyPr/>
          <a:lstStyle/>
          <a:p>
            <a:r>
              <a:rPr lang="en-US" sz="800"/>
              <a:t>Copyright © 2019 Oracle and/or its affliates.</a:t>
            </a:r>
            <a:endParaRPr lang="en-US" sz="800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281FACDB-74EA-704F-8BA0-BD67213620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1287" y="6507623"/>
            <a:ext cx="5785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fld id="{D440507A-669E-A943-A4A7-E531D638091A}" type="slidenum">
              <a:rPr lang="en-US" smtClean="0">
                <a:solidFill>
                  <a:srgbClr val="4E3629">
                    <a:tint val="75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4E3629">
                  <a:tint val="75000"/>
                </a:srgbClr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55A49F8-AE1E-E24A-8B39-E40927031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233" y="3496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9D47194-A3F4-8F46-B822-497786A9B0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1289" y="1981200"/>
            <a:ext cx="11129420" cy="3962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398134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gray">
          <a:xfrm>
            <a:off x="531952" y="1524000"/>
            <a:ext cx="6097587" cy="4416725"/>
          </a:xfrm>
          <a:solidFill>
            <a:schemeClr val="bg2"/>
          </a:solidFill>
        </p:spPr>
        <p:txBody>
          <a:bodyPr tIns="182880">
            <a:noAutofit/>
          </a:bodyPr>
          <a:lstStyle>
            <a:lvl1pPr marL="0" indent="0" algn="ctr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10638" y="1524000"/>
            <a:ext cx="4649412" cy="4419600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© 2019 Oracle and/or its affliates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EAA63-D034-42AE-91FA-B13B9518C7BE}" type="slidenum">
              <a:rPr lang="uk-UA" smtClean="0"/>
              <a:pPr/>
              <a:t>‹Nº›</a:t>
            </a:fld>
            <a:endParaRPr lang="uk-UA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28234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28778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© 2019 Oracle and/or its affliates.</a:t>
            </a:r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EAA63-D034-42AE-91FA-B13B9518C7BE}" type="slidenum">
              <a:rPr/>
              <a:t>‹Nº›</a:t>
            </a:fld>
            <a:endParaRPr dirty="0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31953" y="1373742"/>
            <a:ext cx="11128096" cy="343299"/>
          </a:xfrm>
        </p:spPr>
        <p:txBody>
          <a:bodyPr>
            <a:noAutofit/>
          </a:bodyPr>
          <a:lstStyle>
            <a:lvl1pPr marL="1588" indent="0">
              <a:spcBef>
                <a:spcPts val="0"/>
              </a:spcBef>
              <a:buFontTx/>
              <a:buNone/>
              <a:defRPr sz="2400" b="1" baseline="0"/>
            </a:lvl1pPr>
            <a:lvl2pPr marL="1588" indent="0">
              <a:buFontTx/>
              <a:buNone/>
              <a:defRPr sz="2400"/>
            </a:lvl2pPr>
            <a:lvl3pPr marL="1588" indent="0">
              <a:buFontTx/>
              <a:buNone/>
              <a:defRPr sz="2400"/>
            </a:lvl3pPr>
            <a:lvl4pPr marL="1588" indent="0">
              <a:buFontTx/>
              <a:buNone/>
              <a:defRPr sz="2400"/>
            </a:lvl4pPr>
            <a:lvl5pPr marL="1588" indent="0">
              <a:buFontTx/>
              <a:buNone/>
              <a:defRPr sz="2400"/>
            </a:lvl5pPr>
            <a:lvl6pPr marL="1588" indent="0">
              <a:buFontTx/>
              <a:buNone/>
              <a:defRPr sz="2400"/>
            </a:lvl6pPr>
            <a:lvl7pPr marL="1588" indent="0">
              <a:buFontTx/>
              <a:buNone/>
              <a:defRPr sz="2400"/>
            </a:lvl7pPr>
            <a:lvl8pPr marL="1588" indent="0">
              <a:buFontTx/>
              <a:buNone/>
              <a:defRPr sz="2400"/>
            </a:lvl8pPr>
            <a:lvl9pPr marL="1588" indent="0">
              <a:buFontTx/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28234" y="3496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61567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233" y="3496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1289" y="1981200"/>
            <a:ext cx="11129420" cy="3962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© 2019 Oracle and/or its affliates.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EAA63-D034-42AE-91FA-B13B9518C7BE}" type="slidenum">
              <a:rPr/>
              <a:t>‹Nº›</a:t>
            </a:fld>
            <a:endParaRPr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31952" y="1373742"/>
            <a:ext cx="11128097" cy="343299"/>
          </a:xfrm>
        </p:spPr>
        <p:txBody>
          <a:bodyPr>
            <a:noAutofit/>
          </a:bodyPr>
          <a:lstStyle>
            <a:lvl1pPr marL="1588" indent="0">
              <a:spcBef>
                <a:spcPts val="0"/>
              </a:spcBef>
              <a:buFontTx/>
              <a:buNone/>
              <a:defRPr sz="2400" b="1" baseline="0"/>
            </a:lvl1pPr>
            <a:lvl2pPr marL="1588" indent="0">
              <a:buFontTx/>
              <a:buNone/>
              <a:defRPr sz="2400"/>
            </a:lvl2pPr>
            <a:lvl3pPr marL="1588" indent="0">
              <a:buFontTx/>
              <a:buNone/>
              <a:defRPr sz="2400"/>
            </a:lvl3pPr>
            <a:lvl4pPr marL="1588" indent="0">
              <a:buFontTx/>
              <a:buNone/>
              <a:defRPr sz="2400"/>
            </a:lvl4pPr>
            <a:lvl5pPr marL="1588" indent="0">
              <a:buFontTx/>
              <a:buNone/>
              <a:defRPr sz="2400"/>
            </a:lvl5pPr>
            <a:lvl6pPr marL="1588" indent="0">
              <a:buFontTx/>
              <a:buNone/>
              <a:defRPr sz="2400"/>
            </a:lvl6pPr>
            <a:lvl7pPr marL="1588" indent="0">
              <a:buFontTx/>
              <a:buNone/>
              <a:defRPr sz="2400"/>
            </a:lvl7pPr>
            <a:lvl8pPr marL="1588" indent="0">
              <a:buFontTx/>
              <a:buNone/>
              <a:defRPr sz="2400"/>
            </a:lvl8pPr>
            <a:lvl9pPr marL="1588" indent="0">
              <a:buFontTx/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647513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© 2019 Oracle and/or its affliates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EAA63-D034-42AE-91FA-B13B9518C7BE}" type="slidenum">
              <a:rPr lang="uk-UA" smtClean="0"/>
              <a:pPr/>
              <a:t>‹Nº›</a:t>
            </a:fld>
            <a:endParaRPr lang="uk-U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6652" y="325369"/>
            <a:ext cx="10515600" cy="1325563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6989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 bwMode="ltGray">
          <a:xfrm>
            <a:off x="6096000" y="1524000"/>
            <a:ext cx="0" cy="4419600"/>
          </a:xfrm>
          <a:prstGeom prst="line">
            <a:avLst/>
          </a:prstGeom>
          <a:ln w="19050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1952" y="1524001"/>
            <a:ext cx="5411608" cy="4419600"/>
          </a:xfrm>
        </p:spPr>
        <p:txBody>
          <a:bodyPr>
            <a:noAutofit/>
          </a:bodyPr>
          <a:lstStyle>
            <a:lvl1pPr>
              <a:defRPr sz="2799"/>
            </a:lvl1pPr>
            <a:lvl2pPr>
              <a:defRPr sz="2399"/>
            </a:lvl2pPr>
            <a:lvl3pPr>
              <a:defRPr sz="2000"/>
            </a:lvl3pPr>
            <a:lvl4pPr>
              <a:defRPr sz="1867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8445" y="1524001"/>
            <a:ext cx="5411607" cy="4419600"/>
          </a:xfrm>
        </p:spPr>
        <p:txBody>
          <a:bodyPr>
            <a:noAutofit/>
          </a:bodyPr>
          <a:lstStyle>
            <a:lvl1pPr>
              <a:defRPr sz="2799"/>
            </a:lvl1pPr>
            <a:lvl2pPr>
              <a:defRPr sz="2399"/>
            </a:lvl2pPr>
            <a:lvl3pPr>
              <a:defRPr sz="2000"/>
            </a:lvl3pPr>
            <a:lvl4pPr>
              <a:defRPr sz="1867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EAA63-D034-42AE-91FA-B13B9518C7BE}" type="slidenum">
              <a:rPr/>
              <a:pPr/>
              <a:t>‹Nº›</a:t>
            </a:fld>
            <a:endParaRPr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64891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Template_Content 1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2463" y="327385"/>
            <a:ext cx="10972781" cy="5418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072463" y="2029469"/>
            <a:ext cx="10972801" cy="4083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072463" y="864288"/>
            <a:ext cx="10972801" cy="40640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666">
                <a:solidFill>
                  <a:schemeClr val="accent1"/>
                </a:solidFill>
              </a:defRPr>
            </a:lvl1pPr>
            <a:lvl2pPr marL="609448" indent="0">
              <a:buFontTx/>
              <a:buNone/>
              <a:defRPr/>
            </a:lvl2pPr>
            <a:lvl3pPr marL="1218895" indent="0">
              <a:buFontTx/>
              <a:buNone/>
              <a:defRPr/>
            </a:lvl3pPr>
            <a:lvl4pPr marL="1828343" indent="0">
              <a:buFontTx/>
              <a:buNone/>
              <a:defRPr/>
            </a:lvl4pPr>
            <a:lvl5pPr marL="243779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2715235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B5DC53-8C9C-498E-B290-9D8A7BD5A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5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518F91BC-4014-5D47-9833-7387EBFBB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16764" y="6514979"/>
            <a:ext cx="3792589" cy="365125"/>
          </a:xfrm>
        </p:spPr>
        <p:txBody>
          <a:bodyPr/>
          <a:lstStyle/>
          <a:p>
            <a:r>
              <a:rPr lang="en-US" sz="800"/>
              <a:t>Copyright © 2019 Oracle and/or its affliates.</a:t>
            </a:r>
            <a:endParaRPr lang="en-US" sz="800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374B19AE-E32E-0949-A47D-524926B76C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507625"/>
            <a:ext cx="5785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fld id="{D440507A-669E-A943-A4A7-E531D638091A}" type="slidenum">
              <a:rPr lang="en-US" smtClean="0">
                <a:solidFill>
                  <a:srgbClr val="4E3629">
                    <a:tint val="75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4E362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08374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Cov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DAA8E5EA-5030-48C4-99E7-E61D164BD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85429" y="3138723"/>
            <a:ext cx="4421144" cy="580554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F198333D-FF3E-E64D-8889-26B8EFCA268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302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container, basket&#10;&#10;Description automatically generated">
            <a:extLst>
              <a:ext uri="{FF2B5EF4-FFF2-40B4-BE49-F238E27FC236}">
                <a16:creationId xmlns:a16="http://schemas.microsoft.com/office/drawing/2014/main" id="{F6432D01-A6C7-114E-B0E4-99D85C2393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98"/>
          <a:stretch/>
        </p:blipFill>
        <p:spPr>
          <a:xfrm>
            <a:off x="7080948" y="212826"/>
            <a:ext cx="5111051" cy="2299468"/>
          </a:xfrm>
          <a:prstGeom prst="rect">
            <a:avLst/>
          </a:prstGeom>
        </p:spPr>
      </p:pic>
      <p:pic>
        <p:nvPicPr>
          <p:cNvPr id="13" name="Picture 12" descr="A picture containing music, black&#10;&#10;Description automatically generated">
            <a:extLst>
              <a:ext uri="{FF2B5EF4-FFF2-40B4-BE49-F238E27FC236}">
                <a16:creationId xmlns:a16="http://schemas.microsoft.com/office/drawing/2014/main" id="{1DB4A463-D340-944F-9609-68DBCA3E8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93"/>
          <a:stretch/>
        </p:blipFill>
        <p:spPr>
          <a:xfrm>
            <a:off x="9334" y="1125489"/>
            <a:ext cx="2864667" cy="1649788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19A174D-36B9-9A49-AD57-EE666A0CE566}"/>
              </a:ext>
            </a:extLst>
          </p:cNvPr>
          <p:cNvSpPr/>
          <p:nvPr userDrawn="1"/>
        </p:nvSpPr>
        <p:spPr>
          <a:xfrm>
            <a:off x="10418601" y="5036959"/>
            <a:ext cx="261122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EEBAD0F-FE4F-2F4E-95EB-338C4059E78B}"/>
              </a:ext>
            </a:extLst>
          </p:cNvPr>
          <p:cNvSpPr/>
          <p:nvPr userDrawn="1"/>
        </p:nvSpPr>
        <p:spPr>
          <a:xfrm>
            <a:off x="11502723" y="5644791"/>
            <a:ext cx="100826" cy="573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01AE0-191D-0D4F-8D04-33B0884AFE47}"/>
              </a:ext>
            </a:extLst>
          </p:cNvPr>
          <p:cNvSpPr/>
          <p:nvPr userDrawn="1"/>
        </p:nvSpPr>
        <p:spPr>
          <a:xfrm>
            <a:off x="11008032" y="4790761"/>
            <a:ext cx="643642" cy="573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5070C1B-C4CA-9C4C-BBFD-7F9898CE084C}"/>
              </a:ext>
            </a:extLst>
          </p:cNvPr>
          <p:cNvSpPr/>
          <p:nvPr userDrawn="1"/>
        </p:nvSpPr>
        <p:spPr>
          <a:xfrm>
            <a:off x="10808761" y="5036959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5226D1F-36E2-FB4B-94C3-CBD02190671F}"/>
              </a:ext>
            </a:extLst>
          </p:cNvPr>
          <p:cNvSpPr/>
          <p:nvPr userDrawn="1"/>
        </p:nvSpPr>
        <p:spPr>
          <a:xfrm>
            <a:off x="11508670" y="56468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C08E0869-9921-1B40-A001-9F36EFAFD2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3611" y="3892527"/>
            <a:ext cx="10073301" cy="1830180"/>
          </a:xfrm>
        </p:spPr>
        <p:txBody>
          <a:bodyPr lIns="0" rIns="0">
            <a:noAutofit/>
          </a:bodyPr>
          <a:lstStyle>
            <a:lvl1pPr marL="0" indent="0">
              <a:lnSpc>
                <a:spcPts val="1400"/>
              </a:lnSpc>
              <a:buFont typeface="+mj-lt"/>
              <a:buNone/>
              <a:defRPr lang="en-US" sz="1600" b="0" i="0" kern="1200" dirty="0">
                <a:solidFill>
                  <a:schemeClr val="accent2">
                    <a:lumMod val="50000"/>
                  </a:schemeClr>
                </a:solidFill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presenter’s name, title, division/business unit/organization and date</a:t>
            </a:r>
          </a:p>
          <a:p>
            <a:pPr lvl="0"/>
            <a:endParaRPr lang="en-US" dirty="0"/>
          </a:p>
        </p:txBody>
      </p:sp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268194"/>
            <a:ext cx="10076344" cy="9099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214300"/>
            <a:ext cx="10076344" cy="416073"/>
          </a:xfrm>
        </p:spPr>
        <p:txBody>
          <a:bodyPr wrap="none"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D732C4C-DA70-0042-B009-10E37C1013E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61CE04F3-8912-47E4-834D-89C2BAF9EE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5316" y="834553"/>
            <a:ext cx="1325468" cy="17405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EAD337C-619D-4AAC-8ECC-D9CE43DFCB4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7407DA-952F-46A6-BF37-E6B0231DF5B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826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 slide with pictur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FB5A834A-43F9-4474-9552-1B566FAA27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5316" y="834553"/>
            <a:ext cx="1325468" cy="174051"/>
          </a:xfrm>
          <a:prstGeom prst="rect">
            <a:avLst/>
          </a:prstGeom>
        </p:spPr>
      </p:pic>
      <p:pic>
        <p:nvPicPr>
          <p:cNvPr id="14" name="Picture 13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7C1B8942-1252-40E6-8C4B-37AD51638E2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" y="0"/>
            <a:ext cx="12192000" cy="6858000"/>
          </a:xfrm>
          <a:custGeom>
            <a:avLst/>
            <a:gdLst>
              <a:gd name="connsiteX0" fmla="*/ 722372 w 12192000"/>
              <a:gd name="connsiteY0" fmla="*/ 587874 h 6858000"/>
              <a:gd name="connsiteX1" fmla="*/ 722372 w 12192000"/>
              <a:gd name="connsiteY1" fmla="*/ 6270127 h 6858000"/>
              <a:gd name="connsiteX2" fmla="*/ 11469630 w 12192000"/>
              <a:gd name="connsiteY2" fmla="*/ 6270127 h 6858000"/>
              <a:gd name="connsiteX3" fmla="*/ 11469630 w 12192000"/>
              <a:gd name="connsiteY3" fmla="*/ 58787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22372" y="587874"/>
                </a:moveTo>
                <a:lnTo>
                  <a:pt x="722372" y="6270127"/>
                </a:lnTo>
                <a:lnTo>
                  <a:pt x="11469630" y="6270127"/>
                </a:lnTo>
                <a:lnTo>
                  <a:pt x="11469630" y="58787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C08E0869-9921-1B40-A001-9F36EFAFD2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3611" y="3892527"/>
            <a:ext cx="10073301" cy="1830180"/>
          </a:xfrm>
        </p:spPr>
        <p:txBody>
          <a:bodyPr lIns="0" rIns="0">
            <a:noAutofit/>
          </a:bodyPr>
          <a:lstStyle>
            <a:lvl1pPr marL="0" indent="0">
              <a:lnSpc>
                <a:spcPts val="1400"/>
              </a:lnSpc>
              <a:buFont typeface="+mj-lt"/>
              <a:buNone/>
              <a:defRPr sz="1600" b="0" i="0">
                <a:solidFill>
                  <a:srgbClr val="ECB85A"/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presenter’s name, title, division/business unit/organization and date</a:t>
            </a:r>
          </a:p>
          <a:p>
            <a:pPr lvl="0"/>
            <a:endParaRPr lang="en-US" dirty="0"/>
          </a:p>
        </p:txBody>
      </p:sp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268194"/>
            <a:ext cx="10076344" cy="9099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214300"/>
            <a:ext cx="10076344" cy="416073"/>
          </a:xfrm>
        </p:spPr>
        <p:txBody>
          <a:bodyPr wrap="none"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9BCFA5F-5611-BA47-A551-0D3BA36CA75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ADB96B-56B7-46AB-80A5-E740BBCB8B1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0259F-EE98-4E77-9839-4C299CEA3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353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container, basket&#10;&#10;Description automatically generated">
            <a:extLst>
              <a:ext uri="{FF2B5EF4-FFF2-40B4-BE49-F238E27FC236}">
                <a16:creationId xmlns:a16="http://schemas.microsoft.com/office/drawing/2014/main" id="{F6432D01-A6C7-114E-B0E4-99D85C2393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98"/>
          <a:stretch/>
        </p:blipFill>
        <p:spPr>
          <a:xfrm>
            <a:off x="7080948" y="212826"/>
            <a:ext cx="5111051" cy="2299468"/>
          </a:xfrm>
          <a:prstGeom prst="rect">
            <a:avLst/>
          </a:prstGeom>
        </p:spPr>
      </p:pic>
      <p:pic>
        <p:nvPicPr>
          <p:cNvPr id="13" name="Picture 12" descr="A picture containing music, black&#10;&#10;Description automatically generated">
            <a:extLst>
              <a:ext uri="{FF2B5EF4-FFF2-40B4-BE49-F238E27FC236}">
                <a16:creationId xmlns:a16="http://schemas.microsoft.com/office/drawing/2014/main" id="{1DB4A463-D340-944F-9609-68DBCA3E8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93"/>
          <a:stretch/>
        </p:blipFill>
        <p:spPr>
          <a:xfrm>
            <a:off x="9334" y="1125489"/>
            <a:ext cx="2864667" cy="1649788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19A174D-36B9-9A49-AD57-EE666A0CE566}"/>
              </a:ext>
            </a:extLst>
          </p:cNvPr>
          <p:cNvSpPr/>
          <p:nvPr userDrawn="1"/>
        </p:nvSpPr>
        <p:spPr>
          <a:xfrm>
            <a:off x="10418601" y="5036959"/>
            <a:ext cx="261122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EEBAD0F-FE4F-2F4E-95EB-338C4059E78B}"/>
              </a:ext>
            </a:extLst>
          </p:cNvPr>
          <p:cNvSpPr/>
          <p:nvPr userDrawn="1"/>
        </p:nvSpPr>
        <p:spPr>
          <a:xfrm>
            <a:off x="11502723" y="5644791"/>
            <a:ext cx="100826" cy="573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01AE0-191D-0D4F-8D04-33B0884AFE47}"/>
              </a:ext>
            </a:extLst>
          </p:cNvPr>
          <p:cNvSpPr/>
          <p:nvPr userDrawn="1"/>
        </p:nvSpPr>
        <p:spPr>
          <a:xfrm>
            <a:off x="11008032" y="4790761"/>
            <a:ext cx="643642" cy="573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5070C1B-C4CA-9C4C-BBFD-7F9898CE084C}"/>
              </a:ext>
            </a:extLst>
          </p:cNvPr>
          <p:cNvSpPr/>
          <p:nvPr userDrawn="1"/>
        </p:nvSpPr>
        <p:spPr>
          <a:xfrm>
            <a:off x="10808761" y="5036959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5226D1F-36E2-FB4B-94C3-CBD02190671F}"/>
              </a:ext>
            </a:extLst>
          </p:cNvPr>
          <p:cNvSpPr/>
          <p:nvPr userDrawn="1"/>
        </p:nvSpPr>
        <p:spPr>
          <a:xfrm>
            <a:off x="11508670" y="56468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C08E0869-9921-1B40-A001-9F36EFAFD2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3611" y="3892527"/>
            <a:ext cx="10073301" cy="1830180"/>
          </a:xfrm>
        </p:spPr>
        <p:txBody>
          <a:bodyPr lIns="0" rIns="0">
            <a:noAutofit/>
          </a:bodyPr>
          <a:lstStyle>
            <a:lvl1pPr marL="0" indent="0">
              <a:lnSpc>
                <a:spcPts val="1400"/>
              </a:lnSpc>
              <a:buFont typeface="+mj-lt"/>
              <a:buNone/>
              <a:defRPr sz="1600" b="0" i="0">
                <a:solidFill>
                  <a:srgbClr val="ECB85A"/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presenter’s name, title, division/business unit/organization and date</a:t>
            </a:r>
          </a:p>
          <a:p>
            <a:pPr lvl="0"/>
            <a:endParaRPr lang="en-US" dirty="0"/>
          </a:p>
        </p:txBody>
      </p:sp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268194"/>
            <a:ext cx="10076344" cy="9099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214300"/>
            <a:ext cx="10076344" cy="416073"/>
          </a:xfrm>
        </p:spPr>
        <p:txBody>
          <a:bodyPr wrap="none"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45421AE-3506-4D43-95C5-E39AB50FF8C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5B4C9E13-DA16-49DD-BFBD-74BB1FA200C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5316" y="834553"/>
            <a:ext cx="1325468" cy="174051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AA4113C-20DC-4967-AA08-3F6C42E69B6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47E3DB1-B881-493F-8F99-117753D304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027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 slide with bor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A6A809C4-004B-41C4-A764-304E91EF7D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" y="0"/>
            <a:ext cx="12192000" cy="6858000"/>
          </a:xfrm>
          <a:custGeom>
            <a:avLst/>
            <a:gdLst>
              <a:gd name="connsiteX0" fmla="*/ 722372 w 12192000"/>
              <a:gd name="connsiteY0" fmla="*/ 587874 h 6858000"/>
              <a:gd name="connsiteX1" fmla="*/ 722372 w 12192000"/>
              <a:gd name="connsiteY1" fmla="*/ 6270127 h 6858000"/>
              <a:gd name="connsiteX2" fmla="*/ 11469630 w 12192000"/>
              <a:gd name="connsiteY2" fmla="*/ 6270127 h 6858000"/>
              <a:gd name="connsiteX3" fmla="*/ 11469630 w 12192000"/>
              <a:gd name="connsiteY3" fmla="*/ 58787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22372" y="587874"/>
                </a:moveTo>
                <a:lnTo>
                  <a:pt x="722372" y="6270127"/>
                </a:lnTo>
                <a:lnTo>
                  <a:pt x="11469630" y="6270127"/>
                </a:lnTo>
                <a:lnTo>
                  <a:pt x="11469630" y="58787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918256"/>
            <a:ext cx="10076344" cy="909981"/>
          </a:xfrm>
        </p:spPr>
        <p:txBody>
          <a:bodyPr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864362"/>
            <a:ext cx="10076344" cy="416073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716F8285-7F80-9E47-812A-1A8AFBF908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68" y="838952"/>
            <a:ext cx="1345809" cy="1718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443AB50-F71A-C141-8E4C-4C3726E160B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7D5317-746C-4CF0-AEEE-2D7626ECBDA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71D98D-6B46-48EF-8D0D-2AAA099A55E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08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container, basket&#10;&#10;Description automatically generated">
            <a:extLst>
              <a:ext uri="{FF2B5EF4-FFF2-40B4-BE49-F238E27FC236}">
                <a16:creationId xmlns:a16="http://schemas.microsoft.com/office/drawing/2014/main" id="{A4C97F1E-BE16-AA42-BFFE-49B2AA09D2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33"/>
          <a:stretch/>
        </p:blipFill>
        <p:spPr>
          <a:xfrm flipH="1">
            <a:off x="7263302" y="224473"/>
            <a:ext cx="4928697" cy="2612033"/>
          </a:xfrm>
          <a:prstGeom prst="rect">
            <a:avLst/>
          </a:prstGeom>
        </p:spPr>
      </p:pic>
      <p:pic>
        <p:nvPicPr>
          <p:cNvPr id="12" name="Picture 11" descr="A picture containing music, black&#10;&#10;Description automatically generated">
            <a:extLst>
              <a:ext uri="{FF2B5EF4-FFF2-40B4-BE49-F238E27FC236}">
                <a16:creationId xmlns:a16="http://schemas.microsoft.com/office/drawing/2014/main" id="{5F7F53D4-47BD-9145-A247-BCC9EDCB79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05" b="27845"/>
          <a:stretch/>
        </p:blipFill>
        <p:spPr>
          <a:xfrm>
            <a:off x="-1" y="5667593"/>
            <a:ext cx="3807059" cy="1190407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918256"/>
            <a:ext cx="10076344" cy="909981"/>
          </a:xfrm>
        </p:spPr>
        <p:txBody>
          <a:bodyPr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864362"/>
            <a:ext cx="10076344" cy="416073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716F8285-7F80-9E47-812A-1A8AFBF908B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68" y="838952"/>
            <a:ext cx="1345809" cy="17180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6A5C7BD-760D-5147-B15C-5257558DF45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453DE52-AC7B-4161-B95D-697859A920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C213284-E15E-4389-B747-0878740056C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9953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ark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n animal&#10;&#10;Description automatically generated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573" b="25625"/>
          <a:stretch/>
        </p:blipFill>
        <p:spPr>
          <a:xfrm>
            <a:off x="6337183" y="4500749"/>
            <a:ext cx="5854818" cy="23572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B599F-269A-4E45-BB4E-31A49D23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6"/>
            <a:ext cx="9887834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86EFD9-8225-47A7-9DFF-A350F67E94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68095" y="2288559"/>
            <a:ext cx="9887835" cy="336037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kern="0" spc="0" baseline="0">
                <a:solidFill>
                  <a:schemeClr val="bg1">
                    <a:lumMod val="85000"/>
                  </a:schemeClr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Duis vitae </a:t>
            </a:r>
            <a:r>
              <a:rPr lang="en-US" dirty="0" err="1"/>
              <a:t>interdum</a:t>
            </a:r>
            <a:r>
              <a:rPr lang="en-US" dirty="0"/>
              <a:t> diam, non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etus</a:t>
            </a:r>
            <a:r>
              <a:rPr lang="en-US" dirty="0"/>
              <a:t> sed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354AA-8715-3B44-8031-FEACECD4374F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B01B341-CE4F-4A4A-83C2-9813F15E75B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90D434-9F80-4D7D-840A-0535E9467C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8AEB73-FD9D-4BDC-8014-8A23904D57F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548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Remote speak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4E879062-D42A-C24B-9506-CFFED71D40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47"/>
          <a:stretch/>
        </p:blipFill>
        <p:spPr>
          <a:xfrm>
            <a:off x="0" y="254000"/>
            <a:ext cx="5133848" cy="6626102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BD2CF4-1E90-A941-8678-001223FD41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54000"/>
            <a:ext cx="5133848" cy="6626102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48B0DA0-F967-2742-83CF-A94F1A88E5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59226" y="1729568"/>
            <a:ext cx="6184238" cy="482019"/>
          </a:xfrm>
        </p:spPr>
        <p:txBody>
          <a:bodyPr lIns="0">
            <a:noAutofit/>
          </a:bodyPr>
          <a:lstStyle>
            <a:lvl1pPr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085E64C9-9C43-0840-BE43-4074F7178F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59226" y="2852531"/>
            <a:ext cx="6184237" cy="2587963"/>
          </a:xfrm>
        </p:spPr>
        <p:txBody>
          <a:bodyPr lIns="0" anchor="ctr" anchorCtr="0"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 sz="20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228600">
              <a:spcBef>
                <a:spcPts val="0"/>
              </a:spcBef>
              <a:buClr>
                <a:schemeClr val="bg1"/>
              </a:buClr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55F6A82-2EA7-8C4D-A6E5-04849642E6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683AB1BC-2635-8847-B41C-2FADD8B3257E}"/>
              </a:ext>
            </a:extLst>
          </p:cNvPr>
          <p:cNvSpPr/>
          <p:nvPr userDrawn="1"/>
        </p:nvSpPr>
        <p:spPr>
          <a:xfrm>
            <a:off x="5659227" y="245204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3D3678D-880F-6545-80F0-0F8C8579C9E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D20634-3E03-42BA-9E65-8D474CE5DB1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8B8078"/>
                </a:solidFill>
              </a:defRPr>
            </a:lvl1pPr>
          </a:lstStyle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8B103B-7B4E-4EF2-B2AC-56C456AA730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8B8078"/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21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 and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n animal&#10;&#10;Description automatically generated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573"/>
          <a:stretch/>
        </p:blipFill>
        <p:spPr>
          <a:xfrm>
            <a:off x="6337183" y="565565"/>
            <a:ext cx="5854818" cy="316943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86EFD9-8225-47A7-9DFF-A350F67E94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064470" y="2302901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chemeClr val="bg1">
                    <a:lumMod val="85000"/>
                  </a:schemeClr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On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9AFAB69-F72F-B44B-BB67-D4480049D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6"/>
            <a:ext cx="10110436" cy="844095"/>
          </a:xfrm>
        </p:spPr>
        <p:txBody>
          <a:bodyPr vert="horz" lIns="0" tIns="45720" rIns="0" bIns="45720" rtlCol="0" anchor="b">
            <a:norm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Headlin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5B432C7-6194-C04D-8607-A1DFBA3219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61153" y="2302995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6493D53-065B-674D-B762-76404273F0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61153" y="2822169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D2FB6D0-D95C-6242-A795-CCD93D8A2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61153" y="3341343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25DA43B-4E3A-394F-B8B3-16A0A25D88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61153" y="3860517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0EC907BF-0F79-AE40-A0E1-10EDEEBBAE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61153" y="4379689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FFD898F-103C-F14D-85A5-5DFDF32D1E06}"/>
              </a:ext>
            </a:extLst>
          </p:cNvPr>
          <p:cNvSpPr/>
          <p:nvPr userDrawn="1"/>
        </p:nvSpPr>
        <p:spPr>
          <a:xfrm>
            <a:off x="761288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3E966DA-E5B9-074E-B0AA-F5451AF51BAE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064470" y="2822098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chemeClr val="bg1">
                    <a:lumMod val="85000"/>
                  </a:schemeClr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wo</a:t>
            </a:r>
          </a:p>
          <a:p>
            <a:pPr lvl="0"/>
            <a:endParaRPr lang="en-US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5FDD008-E0E6-4746-AB5B-78D012E92B2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064470" y="3341295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chemeClr val="bg1">
                    <a:lumMod val="85000"/>
                  </a:schemeClr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5DE72B7-8353-7C47-A8C2-69DED713D17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2064470" y="3860492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chemeClr val="bg1">
                    <a:lumMod val="85000"/>
                  </a:schemeClr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Four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D1BD307-5E4B-9647-A402-54CF30BEC3C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2064470" y="4379689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chemeClr val="bg1">
                    <a:lumMod val="85000"/>
                  </a:schemeClr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Fiv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79720989-2482-AB44-A4C6-51E24E7790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F703C9-4FDD-4F44-9D4C-DE37399565B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342AF7-5BA7-456C-A09B-16DC37B984D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694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Quo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98AFA1C8-063D-48B1-AD4E-5E6897F06DB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4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6250C7C-7F0B-2B44-AAA6-883F6AB7E03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554B90B0-B853-6F47-ACDA-C26DB60F0F3D}"/>
              </a:ext>
            </a:extLst>
          </p:cNvPr>
          <p:cNvSpPr txBox="1">
            <a:spLocks/>
          </p:cNvSpPr>
          <p:nvPr userDrawn="1"/>
        </p:nvSpPr>
        <p:spPr>
          <a:xfrm>
            <a:off x="875356" y="5535006"/>
            <a:ext cx="9983144" cy="7207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914400" rtl="0" eaLnBrk="1" latinLnBrk="0" hangingPunct="1">
              <a:lnSpc>
                <a:spcPts val="1800"/>
              </a:lnSpc>
              <a:spcBef>
                <a:spcPts val="0"/>
              </a:spcBef>
              <a:buNone/>
              <a:defRPr lang="en-US" sz="1400" b="1" i="0" kern="1200">
                <a:solidFill>
                  <a:schemeClr val="bg1"/>
                </a:solidFill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endParaRPr lang="en-US" sz="1400" b="0" i="0" dirty="0"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90252080-E2D5-6447-93EB-F3E1BDF7CD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096" y="2346183"/>
            <a:ext cx="9983786" cy="2242890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32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“Click to type customer or partner quote surrounded by quotation marks.”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C9068F71-E098-E049-81D3-5491AAF8DE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8096" y="5239646"/>
            <a:ext cx="9983786" cy="249346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33" name="Text Placeholder 26">
            <a:extLst>
              <a:ext uri="{FF2B5EF4-FFF2-40B4-BE49-F238E27FC236}">
                <a16:creationId xmlns:a16="http://schemas.microsoft.com/office/drawing/2014/main" id="{87089DAA-9281-6045-B621-B0A8295117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096" y="5564669"/>
            <a:ext cx="9983786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3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Picture Placeholder 19">
            <a:extLst>
              <a:ext uri="{FF2B5EF4-FFF2-40B4-BE49-F238E27FC236}">
                <a16:creationId xmlns:a16="http://schemas.microsoft.com/office/drawing/2014/main" id="{806BB0D3-072D-8D47-8C70-E1851CE928B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8096" y="955256"/>
            <a:ext cx="2589212" cy="110690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565B80A-580D-054A-A47B-A7433DB02574}"/>
              </a:ext>
            </a:extLst>
          </p:cNvPr>
          <p:cNvSpPr/>
          <p:nvPr userDrawn="1"/>
        </p:nvSpPr>
        <p:spPr>
          <a:xfrm>
            <a:off x="768097" y="4829530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32846F1-7A16-524E-98CA-4D4F833E63E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CC62E7F-282B-48B1-B108-B32B3016C3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4A5CEE-4E2B-4A73-B504-17B364D970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9159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Quot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4E879062-D42A-C24B-9506-CFFED71D40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47"/>
          <a:stretch/>
        </p:blipFill>
        <p:spPr>
          <a:xfrm>
            <a:off x="0" y="254000"/>
            <a:ext cx="5133848" cy="6626102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BD2CF4-1E90-A941-8678-001223FD41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54000"/>
            <a:ext cx="5133848" cy="6626102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55F6A82-2EA7-8C4D-A6E5-04849642E6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660ACC2F-3202-B843-8CCE-6D68B1FAAF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30545" y="4661231"/>
            <a:ext cx="6315978" cy="218094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63B99ECC-6BAB-0F46-88DB-26AE80C343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30545" y="4952092"/>
            <a:ext cx="6315978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3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6">
            <a:extLst>
              <a:ext uri="{FF2B5EF4-FFF2-40B4-BE49-F238E27FC236}">
                <a16:creationId xmlns:a16="http://schemas.microsoft.com/office/drawing/2014/main" id="{38A1ED2B-730F-DB4F-8E69-07241B0A49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30545" y="1850640"/>
            <a:ext cx="6315978" cy="225153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32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“Click to type customer or partner quote surrounded by quotation marks.”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44BA13B-C4E1-6147-9655-829168E5E266}"/>
              </a:ext>
            </a:extLst>
          </p:cNvPr>
          <p:cNvSpPr/>
          <p:nvPr userDrawn="1"/>
        </p:nvSpPr>
        <p:spPr>
          <a:xfrm>
            <a:off x="5430546" y="434263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5E12F1A-E94A-0A4E-A3DE-82C421C99EA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43CB455-1A65-4638-A09E-2C0F6C4FCCD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8B8078"/>
                </a:solidFill>
              </a:defRPr>
            </a:lvl1pPr>
          </a:lstStyle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DAE9173-05B9-4760-A0D4-0486B3A93C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8B8078"/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663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Quote with pictur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94572D87-83C8-4D60-8607-77A65AD000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" y="0"/>
            <a:ext cx="12192000" cy="6858000"/>
          </a:xfrm>
          <a:custGeom>
            <a:avLst/>
            <a:gdLst>
              <a:gd name="connsiteX0" fmla="*/ 722372 w 12192000"/>
              <a:gd name="connsiteY0" fmla="*/ 587874 h 6858000"/>
              <a:gd name="connsiteX1" fmla="*/ 722372 w 12192000"/>
              <a:gd name="connsiteY1" fmla="*/ 6270127 h 6858000"/>
              <a:gd name="connsiteX2" fmla="*/ 11469630 w 12192000"/>
              <a:gd name="connsiteY2" fmla="*/ 6270127 h 6858000"/>
              <a:gd name="connsiteX3" fmla="*/ 11469630 w 12192000"/>
              <a:gd name="connsiteY3" fmla="*/ 58787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22372" y="587874"/>
                </a:moveTo>
                <a:lnTo>
                  <a:pt x="722372" y="6270127"/>
                </a:lnTo>
                <a:lnTo>
                  <a:pt x="11469630" y="6270127"/>
                </a:lnTo>
                <a:lnTo>
                  <a:pt x="11469630" y="58787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26">
            <a:extLst>
              <a:ext uri="{FF2B5EF4-FFF2-40B4-BE49-F238E27FC236}">
                <a16:creationId xmlns:a16="http://schemas.microsoft.com/office/drawing/2014/main" id="{F65EEC53-4965-C84F-B964-03CF9283D5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0214" y="1101969"/>
            <a:ext cx="9165494" cy="2975336"/>
          </a:xfrm>
        </p:spPr>
        <p:txBody>
          <a:bodyPr lIns="0" anchor="b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32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“Click to type customer or partner quote surrounded by quotation marks.”</a:t>
            </a:r>
          </a:p>
        </p:txBody>
      </p:sp>
      <p:sp>
        <p:nvSpPr>
          <p:cNvPr id="31" name="Text Placeholder 26">
            <a:extLst>
              <a:ext uri="{FF2B5EF4-FFF2-40B4-BE49-F238E27FC236}">
                <a16:creationId xmlns:a16="http://schemas.microsoft.com/office/drawing/2014/main" id="{1AD57123-EDE4-954E-9A92-A3083B1C27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30214" y="4637490"/>
            <a:ext cx="9165494" cy="249346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9C7075CA-1EBB-F043-A768-C5814E1A58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0214" y="4962513"/>
            <a:ext cx="9165494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3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BC74FEB-50F3-4449-8D38-99E6A564975E}"/>
              </a:ext>
            </a:extLst>
          </p:cNvPr>
          <p:cNvSpPr/>
          <p:nvPr userDrawn="1"/>
        </p:nvSpPr>
        <p:spPr>
          <a:xfrm>
            <a:off x="1530215" y="430369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066F36DD-F60C-6546-9240-CD06125DC85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33621" y="6349718"/>
            <a:ext cx="38644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272AD2F-E71B-794F-9680-FD1C16A0CC41}"/>
              </a:ext>
            </a:extLst>
          </p:cNvPr>
          <p:cNvSpPr txBox="1"/>
          <p:nvPr userDrawn="1"/>
        </p:nvSpPr>
        <p:spPr>
          <a:xfrm>
            <a:off x="944517" y="6415801"/>
            <a:ext cx="5984422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Confidential – Oracle Internal/Restricted/Highly Restricted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AF76C97-2AF5-984A-BC34-9ABED7D388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098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 slide with bor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B5F97872-A8E7-4983-882E-ED121CE6B1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5316" y="834553"/>
            <a:ext cx="1325468" cy="174051"/>
          </a:xfrm>
          <a:prstGeom prst="rect">
            <a:avLst/>
          </a:prstGeom>
        </p:spPr>
      </p:pic>
      <p:pic>
        <p:nvPicPr>
          <p:cNvPr id="11" name="Picture 10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D10A2AE4-7C9C-4FBA-90B0-0F9F3467EA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" y="0"/>
            <a:ext cx="12192000" cy="6858000"/>
          </a:xfrm>
          <a:custGeom>
            <a:avLst/>
            <a:gdLst>
              <a:gd name="connsiteX0" fmla="*/ 722372 w 12192000"/>
              <a:gd name="connsiteY0" fmla="*/ 587874 h 6858000"/>
              <a:gd name="connsiteX1" fmla="*/ 722372 w 12192000"/>
              <a:gd name="connsiteY1" fmla="*/ 6270127 h 6858000"/>
              <a:gd name="connsiteX2" fmla="*/ 11469630 w 12192000"/>
              <a:gd name="connsiteY2" fmla="*/ 6270127 h 6858000"/>
              <a:gd name="connsiteX3" fmla="*/ 11469630 w 12192000"/>
              <a:gd name="connsiteY3" fmla="*/ 58787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22372" y="587874"/>
                </a:moveTo>
                <a:lnTo>
                  <a:pt x="722372" y="6270127"/>
                </a:lnTo>
                <a:lnTo>
                  <a:pt x="11469630" y="6270127"/>
                </a:lnTo>
                <a:lnTo>
                  <a:pt x="11469630" y="58787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918256"/>
            <a:ext cx="10076344" cy="909981"/>
          </a:xfrm>
        </p:spPr>
        <p:txBody>
          <a:bodyPr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864362"/>
            <a:ext cx="10076344" cy="416073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EC80B273-05EE-354F-BDB5-4D3CADE7884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33621" y="6349718"/>
            <a:ext cx="38644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41E6192-0966-E748-B75F-334DC4B5AAF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4FEE8A7-2ADE-4470-B07B-CD5C5C46C5E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050568" y="6356350"/>
            <a:ext cx="4114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r>
              <a:rPr lang="en-US"/>
              <a:t>Copyright © 2019 Oracle and/or its affliat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777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n animal&#10;&#10;Description automatically generated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573" b="25625"/>
          <a:stretch/>
        </p:blipFill>
        <p:spPr>
          <a:xfrm>
            <a:off x="6337183" y="4500749"/>
            <a:ext cx="5854818" cy="23572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B599F-269A-4E45-BB4E-31A49D23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6"/>
            <a:ext cx="9887834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itle-Only Layou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354AA-8715-3B44-8031-FEACECD4374F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0C223D3-3779-694D-9236-3435D6E11EC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0E89AB-6D7B-49FA-ADF8-AEB0F9FA18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2E12AE-F7AF-4B88-AFCF-500337337F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890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ark Title and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n animal&#10;&#10;Description automatically generated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573" b="25625"/>
          <a:stretch/>
        </p:blipFill>
        <p:spPr>
          <a:xfrm>
            <a:off x="6337183" y="4500749"/>
            <a:ext cx="5854818" cy="23572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B599F-269A-4E45-BB4E-31A49D23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6"/>
            <a:ext cx="9887834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itle and Subtitle Layo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86EFD9-8225-47A7-9DFF-A350F67E94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68095" y="2288559"/>
            <a:ext cx="9887835" cy="336037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kern="0" spc="0" baseline="0">
                <a:solidFill>
                  <a:schemeClr val="bg1">
                    <a:lumMod val="85000"/>
                  </a:schemeClr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Duis vitae </a:t>
            </a:r>
            <a:r>
              <a:rPr lang="en-US" dirty="0" err="1"/>
              <a:t>interdum</a:t>
            </a:r>
            <a:r>
              <a:rPr lang="en-US" dirty="0"/>
              <a:t> diam, non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etus</a:t>
            </a:r>
            <a:r>
              <a:rPr lang="en-US" dirty="0"/>
              <a:t> sed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354AA-8715-3B44-8031-FEACECD4374F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1078BDD-8EA2-624D-943D-2407A6AEE21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0263D7-266C-473E-8BFC-E503931B93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2E0C3C-13B8-4CC1-ABD8-21EFBE4158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3891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 with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A close up of an animal&#10;&#10;Description automatically generated">
            <a:extLst>
              <a:ext uri="{FF2B5EF4-FFF2-40B4-BE49-F238E27FC236}">
                <a16:creationId xmlns:a16="http://schemas.microsoft.com/office/drawing/2014/main" id="{260AB3B5-6759-364A-B98F-4622117D77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573" b="25625"/>
          <a:stretch/>
        </p:blipFill>
        <p:spPr>
          <a:xfrm>
            <a:off x="6337183" y="4500749"/>
            <a:ext cx="5854818" cy="235725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B46B041F-833F-AB4C-9680-F86574375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5" y="783026"/>
            <a:ext cx="10210297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wo Content Layout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EF88010-6F25-0949-962C-71A71BBDD2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AE5D2D5-96D0-7047-93E6-327A01072B11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AD7BD674-7999-F54A-88FF-3F982D4775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68095" y="2289175"/>
            <a:ext cx="502920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0A188CAD-EDD5-0B4B-ACA6-7BB921B673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49192" y="2289175"/>
            <a:ext cx="502920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DA68151-38C2-F047-9B1D-873CB0266E4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A2A4872-B0A5-43FD-A327-341D445E656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7BFA47-C221-4BA6-9841-6BFC2DFDFC4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2200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 with 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A close up of an animal&#10;&#10;Description automatically generated">
            <a:extLst>
              <a:ext uri="{FF2B5EF4-FFF2-40B4-BE49-F238E27FC236}">
                <a16:creationId xmlns:a16="http://schemas.microsoft.com/office/drawing/2014/main" id="{260AB3B5-6759-364A-B98F-4622117D77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573" b="25625"/>
          <a:stretch/>
        </p:blipFill>
        <p:spPr>
          <a:xfrm>
            <a:off x="6337183" y="4500749"/>
            <a:ext cx="5854818" cy="235725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B46B041F-833F-AB4C-9680-F86574375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5" y="783026"/>
            <a:ext cx="10210297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hree Content Layout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EF88010-6F25-0949-962C-71A71BBDD2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AE5D2D5-96D0-7047-93E6-327A01072B11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AD7BD674-7999-F54A-88FF-3F982D4775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68095" y="2289175"/>
            <a:ext cx="327147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8BB1C4CD-239E-1A45-BED4-F5593A57A2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37508" y="2289175"/>
            <a:ext cx="327147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33">
            <a:extLst>
              <a:ext uri="{FF2B5EF4-FFF2-40B4-BE49-F238E27FC236}">
                <a16:creationId xmlns:a16="http://schemas.microsoft.com/office/drawing/2014/main" id="{C944C2F4-C444-E840-AF85-154A3F44C6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706922" y="2289175"/>
            <a:ext cx="327147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ACFFDFB-8501-0343-938F-C9B2D425F0B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F7DB035-D1FE-4209-9C43-A445939A1E0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E0A65D-A848-4913-A21F-E28B98EC672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929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Quadrant for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A close up of an animal&#10;&#10;Description automatically generated">
            <a:extLst>
              <a:ext uri="{FF2B5EF4-FFF2-40B4-BE49-F238E27FC236}">
                <a16:creationId xmlns:a16="http://schemas.microsoft.com/office/drawing/2014/main" id="{260AB3B5-6759-364A-B98F-4622117D77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573" b="25625"/>
          <a:stretch/>
        </p:blipFill>
        <p:spPr>
          <a:xfrm>
            <a:off x="6337183" y="4500749"/>
            <a:ext cx="5854818" cy="235725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B46B041F-833F-AB4C-9680-F86574375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5" y="783026"/>
            <a:ext cx="10210297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Quadrant for infographics Layout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EF88010-6F25-0949-962C-71A71BBDD2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AE5D2D5-96D0-7047-93E6-327A01072B11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83F18B1C-2F6B-9349-8DAB-48E7D54A83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04246" y="4162024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2" name="Text Placeholder 33">
            <a:extLst>
              <a:ext uri="{FF2B5EF4-FFF2-40B4-BE49-F238E27FC236}">
                <a16:creationId xmlns:a16="http://schemas.microsoft.com/office/drawing/2014/main" id="{0EF89F6D-A8E2-0348-8488-D69D629143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04270" y="2271143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4" name="Text Placeholder 33">
            <a:extLst>
              <a:ext uri="{FF2B5EF4-FFF2-40B4-BE49-F238E27FC236}">
                <a16:creationId xmlns:a16="http://schemas.microsoft.com/office/drawing/2014/main" id="{A0723324-5918-2C42-9A87-949E736CBF1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04270" y="4162024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B4578909-EA57-4049-8339-75544D89FC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204246" y="2278497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Lorem ipsum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C0E29D9-DAA7-2E49-89A3-03DD810EEAA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EAF8335-2BFD-424C-A8D6-CE03AA2A3F9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CD96A0-FE1C-4E74-9435-B0AAB4B9DBC6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584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Metr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235CFAFF-A02A-3C47-8BEF-C0EB011E7F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0"/>
            <a:ext cx="6096000" cy="6857999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D46810D-06AF-8048-A8FC-EB9C64BA98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1286" y="2275167"/>
            <a:ext cx="1755671" cy="914400"/>
          </a:xfrm>
        </p:spPr>
        <p:txBody>
          <a:bodyPr lIns="0" rIns="0">
            <a:noAutofit/>
          </a:bodyPr>
          <a:lstStyle>
            <a:lvl1pPr>
              <a:defRPr sz="6000">
                <a:solidFill>
                  <a:schemeClr val="accent2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4354AFA5-AF57-6040-82D7-328298E6DA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286" y="3231646"/>
            <a:ext cx="4371153" cy="914400"/>
          </a:xfr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1800" b="0" i="0">
                <a:solidFill>
                  <a:schemeClr val="bg1"/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Duis vitae </a:t>
            </a:r>
            <a:r>
              <a:rPr lang="en-US" dirty="0" err="1"/>
              <a:t>interdum</a:t>
            </a:r>
            <a:r>
              <a:rPr lang="en-US" dirty="0"/>
              <a:t> diam, non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04F3913-8DB3-9B4C-A599-4E9263CFB79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1722C6F-0E65-463D-BA3E-E6A6845F750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67B32A-89AC-4868-806F-3B49979E64F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6713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hank yo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building, clothing&#10;&#10;Description automatically generated">
            <a:extLst>
              <a:ext uri="{FF2B5EF4-FFF2-40B4-BE49-F238E27FC236}">
                <a16:creationId xmlns:a16="http://schemas.microsoft.com/office/drawing/2014/main" id="{B16600C8-A851-494D-A5DF-470343F874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2A2E959E-F30E-F643-947E-CE66F05DD80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Text Placeholder 26">
            <a:extLst>
              <a:ext uri="{FF2B5EF4-FFF2-40B4-BE49-F238E27FC236}">
                <a16:creationId xmlns:a16="http://schemas.microsoft.com/office/drawing/2014/main" id="{2AFE612B-3DB1-C64D-BD3B-51ECDB8CE4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095" y="2346183"/>
            <a:ext cx="4257726" cy="2242890"/>
          </a:xfrm>
        </p:spPr>
        <p:txBody>
          <a:bodyPr lIns="0" anchor="ctr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4000" b="0" i="0">
                <a:solidFill>
                  <a:schemeClr val="bg1"/>
                </a:solidFill>
                <a:latin typeface="Georgia" panose="02040502050405020303" pitchFamily="18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0" name="Text Placeholder 26">
            <a:extLst>
              <a:ext uri="{FF2B5EF4-FFF2-40B4-BE49-F238E27FC236}">
                <a16:creationId xmlns:a16="http://schemas.microsoft.com/office/drawing/2014/main" id="{7F794D52-5437-F64A-97D5-34BE49EA9B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8095" y="5239646"/>
            <a:ext cx="4257726" cy="249346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1" name="Text Placeholder 26">
            <a:extLst>
              <a:ext uri="{FF2B5EF4-FFF2-40B4-BE49-F238E27FC236}">
                <a16:creationId xmlns:a16="http://schemas.microsoft.com/office/drawing/2014/main" id="{1975E737-A6D5-0E4E-AA04-5FECD0BE96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095" y="5564669"/>
            <a:ext cx="4257726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ECAD913-B3D1-D145-A54B-58496F5971A5}"/>
              </a:ext>
            </a:extLst>
          </p:cNvPr>
          <p:cNvSpPr/>
          <p:nvPr userDrawn="1"/>
        </p:nvSpPr>
        <p:spPr>
          <a:xfrm>
            <a:off x="768096" y="4829530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DC8C321-EE6C-4746-A970-ABC3DF5227D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935BE94-6B90-48B3-8BB2-724D091738B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C5CCC6-EACD-4851-BF17-0A08CC1A10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51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hank you 2">
    <p:bg>
      <p:bgPr>
        <a:solidFill>
          <a:srgbClr val="723E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7E9993A3-6C44-3E43-901B-8B5EA2ACF64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9A101D4-18B6-9A46-8025-E830A44D3C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2" name="Text Placeholder 26">
            <a:extLst>
              <a:ext uri="{FF2B5EF4-FFF2-40B4-BE49-F238E27FC236}">
                <a16:creationId xmlns:a16="http://schemas.microsoft.com/office/drawing/2014/main" id="{CD757BAF-41C4-7642-A4DE-49E96BDAD7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095" y="2346183"/>
            <a:ext cx="4257726" cy="2242890"/>
          </a:xfrm>
        </p:spPr>
        <p:txBody>
          <a:bodyPr lIns="0" anchor="ctr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4000" b="0" i="0">
                <a:solidFill>
                  <a:schemeClr val="bg1"/>
                </a:solidFill>
                <a:latin typeface="Georgia" panose="02040502050405020303" pitchFamily="18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15" name="Text Placeholder 26">
            <a:extLst>
              <a:ext uri="{FF2B5EF4-FFF2-40B4-BE49-F238E27FC236}">
                <a16:creationId xmlns:a16="http://schemas.microsoft.com/office/drawing/2014/main" id="{63FD2FE0-050F-8C48-9CCE-7426577AFA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8095" y="5239646"/>
            <a:ext cx="4257726" cy="249346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6" name="Text Placeholder 26">
            <a:extLst>
              <a:ext uri="{FF2B5EF4-FFF2-40B4-BE49-F238E27FC236}">
                <a16:creationId xmlns:a16="http://schemas.microsoft.com/office/drawing/2014/main" id="{9B9976F2-AC01-0B48-8E64-DD931422FA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095" y="5564669"/>
            <a:ext cx="4257726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6E9DA60-A8F5-5C46-87BD-583E2F3FB50A}"/>
              </a:ext>
            </a:extLst>
          </p:cNvPr>
          <p:cNvSpPr/>
          <p:nvPr userDrawn="1"/>
        </p:nvSpPr>
        <p:spPr>
          <a:xfrm>
            <a:off x="768096" y="4829530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8DA1F36F-A66E-2744-9B9A-0F241EF7D8E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3CDFFB6-69E0-1945-A6FC-4A46E9DBD30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6EA59A9-1FF3-4EFD-98EB-55C50EBCF63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15A8DD-D1C6-4413-B8AE-4F36F73AD38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7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Light 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B5DC53-8C9C-498E-B290-9D8A7BD5A3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DF0623-491F-4111-9D00-4928E929DDB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D38B88-B728-4B83-AB8A-F97CCD7D93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109628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Cov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F198333D-FF3E-E64D-8889-26B8EFCA26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6495E0F7-BDCD-40B6-ADD2-43E4A94DFE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85429" y="3138723"/>
            <a:ext cx="4421144" cy="580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773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033ABF72-EA61-493C-9C80-2766E330E9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5316" y="834553"/>
            <a:ext cx="1325468" cy="174051"/>
          </a:xfrm>
          <a:prstGeom prst="rect">
            <a:avLst/>
          </a:prstGeom>
        </p:spPr>
      </p:pic>
      <p:pic>
        <p:nvPicPr>
          <p:cNvPr id="11" name="Picture 10" descr="A picture containing container, basket&#10;&#10;Description automatically generated">
            <a:extLst>
              <a:ext uri="{FF2B5EF4-FFF2-40B4-BE49-F238E27FC236}">
                <a16:creationId xmlns:a16="http://schemas.microsoft.com/office/drawing/2014/main" id="{A4C97F1E-BE16-AA42-BFFE-49B2AA09D2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33"/>
          <a:stretch/>
        </p:blipFill>
        <p:spPr>
          <a:xfrm flipH="1">
            <a:off x="7263302" y="224473"/>
            <a:ext cx="4928697" cy="2612033"/>
          </a:xfrm>
          <a:prstGeom prst="rect">
            <a:avLst/>
          </a:prstGeom>
        </p:spPr>
      </p:pic>
      <p:pic>
        <p:nvPicPr>
          <p:cNvPr id="12" name="Picture 11" descr="A picture containing music, black&#10;&#10;Description automatically generated">
            <a:extLst>
              <a:ext uri="{FF2B5EF4-FFF2-40B4-BE49-F238E27FC236}">
                <a16:creationId xmlns:a16="http://schemas.microsoft.com/office/drawing/2014/main" id="{5F7F53D4-47BD-9145-A247-BCC9EDCB79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05" b="27845"/>
          <a:stretch/>
        </p:blipFill>
        <p:spPr>
          <a:xfrm>
            <a:off x="-1" y="5667593"/>
            <a:ext cx="3807059" cy="1190407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918256"/>
            <a:ext cx="10076344" cy="909981"/>
          </a:xfrm>
        </p:spPr>
        <p:txBody>
          <a:bodyPr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864362"/>
            <a:ext cx="10076344" cy="416073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0933DBA-8C55-E84B-B9A6-D9E630A11DF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8DF406-0086-41A3-9977-669EBDA1214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53E6C-3F22-4EB7-A2A6-4B93AD63B5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570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 slide with pictur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08427B9D-AAC0-4043-8DC3-58E7B3497D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" y="0"/>
            <a:ext cx="12192000" cy="6858000"/>
          </a:xfrm>
          <a:custGeom>
            <a:avLst/>
            <a:gdLst>
              <a:gd name="connsiteX0" fmla="*/ 722372 w 12192000"/>
              <a:gd name="connsiteY0" fmla="*/ 587874 h 6858000"/>
              <a:gd name="connsiteX1" fmla="*/ 722372 w 12192000"/>
              <a:gd name="connsiteY1" fmla="*/ 6270127 h 6858000"/>
              <a:gd name="connsiteX2" fmla="*/ 11469630 w 12192000"/>
              <a:gd name="connsiteY2" fmla="*/ 6270127 h 6858000"/>
              <a:gd name="connsiteX3" fmla="*/ 11469630 w 12192000"/>
              <a:gd name="connsiteY3" fmla="*/ 58787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22372" y="587874"/>
                </a:moveTo>
                <a:lnTo>
                  <a:pt x="722372" y="6270127"/>
                </a:lnTo>
                <a:lnTo>
                  <a:pt x="11469630" y="6270127"/>
                </a:lnTo>
                <a:lnTo>
                  <a:pt x="11469630" y="58787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9840B289-DD9F-42D1-BB13-0675E99B75B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5316" y="834553"/>
            <a:ext cx="1325468" cy="17405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C08E0869-9921-1B40-A001-9F36EFAFD2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3611" y="3892527"/>
            <a:ext cx="10073301" cy="1830180"/>
          </a:xfrm>
        </p:spPr>
        <p:txBody>
          <a:bodyPr lIns="0" rIns="0">
            <a:noAutofit/>
          </a:bodyPr>
          <a:lstStyle>
            <a:lvl1pPr marL="0" indent="0">
              <a:lnSpc>
                <a:spcPts val="1400"/>
              </a:lnSpc>
              <a:buFont typeface="+mj-lt"/>
              <a:buNone/>
              <a:defRPr sz="1600" b="0" i="0">
                <a:solidFill>
                  <a:schemeClr val="accent2">
                    <a:lumMod val="50000"/>
                  </a:schemeClr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presenter’s name, title, division/business unit/organization and date</a:t>
            </a:r>
          </a:p>
          <a:p>
            <a:pPr lvl="0"/>
            <a:endParaRPr lang="en-US" dirty="0"/>
          </a:p>
        </p:txBody>
      </p:sp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268194"/>
            <a:ext cx="10076344" cy="9099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214300"/>
            <a:ext cx="10076344" cy="416073"/>
          </a:xfrm>
        </p:spPr>
        <p:txBody>
          <a:bodyPr wrap="none"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92EBD4F-0442-764D-95B1-7BB4691D116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8AB6B7-FC6F-4EEC-B0F1-9C335F9667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5F679F-0E14-4249-A487-FC23DA4493B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494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container, basket&#10;&#10;Description automatically generated">
            <a:extLst>
              <a:ext uri="{FF2B5EF4-FFF2-40B4-BE49-F238E27FC236}">
                <a16:creationId xmlns:a16="http://schemas.microsoft.com/office/drawing/2014/main" id="{F6432D01-A6C7-114E-B0E4-99D85C2393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98"/>
          <a:stretch/>
        </p:blipFill>
        <p:spPr>
          <a:xfrm>
            <a:off x="7080948" y="212826"/>
            <a:ext cx="5111051" cy="2299468"/>
          </a:xfrm>
          <a:prstGeom prst="rect">
            <a:avLst/>
          </a:prstGeom>
        </p:spPr>
      </p:pic>
      <p:pic>
        <p:nvPicPr>
          <p:cNvPr id="13" name="Picture 12" descr="A picture containing music, black&#10;&#10;Description automatically generated">
            <a:extLst>
              <a:ext uri="{FF2B5EF4-FFF2-40B4-BE49-F238E27FC236}">
                <a16:creationId xmlns:a16="http://schemas.microsoft.com/office/drawing/2014/main" id="{1DB4A463-D340-944F-9609-68DBCA3E8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93"/>
          <a:stretch/>
        </p:blipFill>
        <p:spPr>
          <a:xfrm>
            <a:off x="9334" y="1125489"/>
            <a:ext cx="2864667" cy="1649788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19A174D-36B9-9A49-AD57-EE666A0CE566}"/>
              </a:ext>
            </a:extLst>
          </p:cNvPr>
          <p:cNvSpPr/>
          <p:nvPr userDrawn="1"/>
        </p:nvSpPr>
        <p:spPr>
          <a:xfrm>
            <a:off x="10418601" y="5036959"/>
            <a:ext cx="261122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EEBAD0F-FE4F-2F4E-95EB-338C4059E78B}"/>
              </a:ext>
            </a:extLst>
          </p:cNvPr>
          <p:cNvSpPr/>
          <p:nvPr userDrawn="1"/>
        </p:nvSpPr>
        <p:spPr>
          <a:xfrm>
            <a:off x="11502723" y="5644791"/>
            <a:ext cx="100826" cy="573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01AE0-191D-0D4F-8D04-33B0884AFE47}"/>
              </a:ext>
            </a:extLst>
          </p:cNvPr>
          <p:cNvSpPr/>
          <p:nvPr userDrawn="1"/>
        </p:nvSpPr>
        <p:spPr>
          <a:xfrm>
            <a:off x="11008032" y="4790761"/>
            <a:ext cx="643642" cy="573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5070C1B-C4CA-9C4C-BBFD-7F9898CE084C}"/>
              </a:ext>
            </a:extLst>
          </p:cNvPr>
          <p:cNvSpPr/>
          <p:nvPr userDrawn="1"/>
        </p:nvSpPr>
        <p:spPr>
          <a:xfrm>
            <a:off x="10808761" y="5036959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5226D1F-36E2-FB4B-94C3-CBD02190671F}"/>
              </a:ext>
            </a:extLst>
          </p:cNvPr>
          <p:cNvSpPr/>
          <p:nvPr userDrawn="1"/>
        </p:nvSpPr>
        <p:spPr>
          <a:xfrm>
            <a:off x="11508670" y="56468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C08E0869-9921-1B40-A001-9F36EFAFD2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3611" y="3892527"/>
            <a:ext cx="10073301" cy="1830180"/>
          </a:xfrm>
        </p:spPr>
        <p:txBody>
          <a:bodyPr lIns="0" rIns="0">
            <a:noAutofit/>
          </a:bodyPr>
          <a:lstStyle>
            <a:lvl1pPr marL="0" indent="0">
              <a:lnSpc>
                <a:spcPts val="1400"/>
              </a:lnSpc>
              <a:buFont typeface="+mj-lt"/>
              <a:buNone/>
              <a:defRPr lang="en-US" sz="1600" b="0" i="0" kern="1200" dirty="0">
                <a:solidFill>
                  <a:schemeClr val="accent2">
                    <a:lumMod val="50000"/>
                  </a:schemeClr>
                </a:solidFill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presenter’s name, title, division/business unit/organization and date</a:t>
            </a:r>
          </a:p>
          <a:p>
            <a:pPr lvl="0"/>
            <a:endParaRPr lang="en-US" dirty="0"/>
          </a:p>
        </p:txBody>
      </p:sp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268194"/>
            <a:ext cx="10076344" cy="9099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214300"/>
            <a:ext cx="10076344" cy="416073"/>
          </a:xfrm>
        </p:spPr>
        <p:txBody>
          <a:bodyPr wrap="none"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D732C4C-DA70-0042-B009-10E37C1013E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61CE04F3-8912-47E4-834D-89C2BAF9EE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5316" y="834553"/>
            <a:ext cx="1325468" cy="17405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EAD337C-619D-4AAC-8ECC-D9CE43DFCB4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7407DA-952F-46A6-BF37-E6B0231DF5B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0298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 slide with bor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B5F97872-A8E7-4983-882E-ED121CE6B1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5316" y="834553"/>
            <a:ext cx="1325468" cy="174051"/>
          </a:xfrm>
          <a:prstGeom prst="rect">
            <a:avLst/>
          </a:prstGeom>
        </p:spPr>
      </p:pic>
      <p:pic>
        <p:nvPicPr>
          <p:cNvPr id="11" name="Picture 10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D10A2AE4-7C9C-4FBA-90B0-0F9F3467EA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" y="0"/>
            <a:ext cx="12192000" cy="6858000"/>
          </a:xfrm>
          <a:custGeom>
            <a:avLst/>
            <a:gdLst>
              <a:gd name="connsiteX0" fmla="*/ 722372 w 12192000"/>
              <a:gd name="connsiteY0" fmla="*/ 587874 h 6858000"/>
              <a:gd name="connsiteX1" fmla="*/ 722372 w 12192000"/>
              <a:gd name="connsiteY1" fmla="*/ 6270127 h 6858000"/>
              <a:gd name="connsiteX2" fmla="*/ 11469630 w 12192000"/>
              <a:gd name="connsiteY2" fmla="*/ 6270127 h 6858000"/>
              <a:gd name="connsiteX3" fmla="*/ 11469630 w 12192000"/>
              <a:gd name="connsiteY3" fmla="*/ 58787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22372" y="587874"/>
                </a:moveTo>
                <a:lnTo>
                  <a:pt x="722372" y="6270127"/>
                </a:lnTo>
                <a:lnTo>
                  <a:pt x="11469630" y="6270127"/>
                </a:lnTo>
                <a:lnTo>
                  <a:pt x="11469630" y="58787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918256"/>
            <a:ext cx="10076344" cy="909981"/>
          </a:xfrm>
        </p:spPr>
        <p:txBody>
          <a:bodyPr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864362"/>
            <a:ext cx="10076344" cy="416073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EC80B273-05EE-354F-BDB5-4D3CADE7884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33621" y="6349718"/>
            <a:ext cx="38644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41E6192-0966-E748-B75F-334DC4B5AAF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4FEE8A7-2ADE-4470-B07B-CD5C5C46C5E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050568" y="6356350"/>
            <a:ext cx="4114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r>
              <a:rPr lang="en-US"/>
              <a:t>Copyright © 2019 Oracle and/or its affliat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7333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033ABF72-EA61-493C-9C80-2766E330E9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5316" y="834553"/>
            <a:ext cx="1325468" cy="174051"/>
          </a:xfrm>
          <a:prstGeom prst="rect">
            <a:avLst/>
          </a:prstGeom>
        </p:spPr>
      </p:pic>
      <p:pic>
        <p:nvPicPr>
          <p:cNvPr id="11" name="Picture 10" descr="A picture containing container, basket&#10;&#10;Description automatically generated">
            <a:extLst>
              <a:ext uri="{FF2B5EF4-FFF2-40B4-BE49-F238E27FC236}">
                <a16:creationId xmlns:a16="http://schemas.microsoft.com/office/drawing/2014/main" id="{A4C97F1E-BE16-AA42-BFFE-49B2AA09D2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33"/>
          <a:stretch/>
        </p:blipFill>
        <p:spPr>
          <a:xfrm flipH="1">
            <a:off x="7263302" y="224473"/>
            <a:ext cx="4928697" cy="2612033"/>
          </a:xfrm>
          <a:prstGeom prst="rect">
            <a:avLst/>
          </a:prstGeom>
        </p:spPr>
      </p:pic>
      <p:pic>
        <p:nvPicPr>
          <p:cNvPr id="12" name="Picture 11" descr="A picture containing music, black&#10;&#10;Description automatically generated">
            <a:extLst>
              <a:ext uri="{FF2B5EF4-FFF2-40B4-BE49-F238E27FC236}">
                <a16:creationId xmlns:a16="http://schemas.microsoft.com/office/drawing/2014/main" id="{5F7F53D4-47BD-9145-A247-BCC9EDCB79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05" b="27845"/>
          <a:stretch/>
        </p:blipFill>
        <p:spPr>
          <a:xfrm>
            <a:off x="-1" y="5667593"/>
            <a:ext cx="3807059" cy="1190407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918256"/>
            <a:ext cx="10076344" cy="909981"/>
          </a:xfrm>
        </p:spPr>
        <p:txBody>
          <a:bodyPr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864362"/>
            <a:ext cx="10076344" cy="416073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0933DBA-8C55-E84B-B9A6-D9E630A11DF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8DF406-0086-41A3-9977-669EBDA1214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53E6C-3F22-4EB7-A2A6-4B93AD63B5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7314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Light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4508411"/>
            <a:ext cx="5854818" cy="23419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B599F-269A-4E45-BB4E-31A49D23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6"/>
            <a:ext cx="9887834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86EFD9-8225-47A7-9DFF-A350F67E94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68095" y="2288559"/>
            <a:ext cx="9887835" cy="336037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kern="0" spc="0" baseline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Duis vitae </a:t>
            </a:r>
            <a:r>
              <a:rPr lang="en-US" dirty="0" err="1"/>
              <a:t>interdum</a:t>
            </a:r>
            <a:r>
              <a:rPr lang="en-US" dirty="0"/>
              <a:t> diam, non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etus</a:t>
            </a:r>
            <a:r>
              <a:rPr lang="en-US" dirty="0"/>
              <a:t> sed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354AA-8715-3B44-8031-FEACECD4374F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97D596B-4276-C840-B6F0-D309028DB43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F03394-9473-4450-8FF2-944DA47113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09A7D7-1838-4598-8915-BF0739FE03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80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Remote speak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4E879062-D42A-C24B-9506-CFFED71D40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47"/>
          <a:stretch/>
        </p:blipFill>
        <p:spPr>
          <a:xfrm>
            <a:off x="0" y="254000"/>
            <a:ext cx="5133848" cy="6626102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BD2CF4-1E90-A941-8678-001223FD41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54000"/>
            <a:ext cx="5133848" cy="6626102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48B0DA0-F967-2742-83CF-A94F1A88E5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59226" y="1729568"/>
            <a:ext cx="6184238" cy="482019"/>
          </a:xfrm>
        </p:spPr>
        <p:txBody>
          <a:bodyPr lIns="0" anchor="b">
            <a:noAutofit/>
          </a:bodyPr>
          <a:lstStyle>
            <a:lvl1pPr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085E64C9-9C43-0840-BE43-4074F7178F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59226" y="2852531"/>
            <a:ext cx="6184237" cy="2587963"/>
          </a:xfrm>
        </p:spPr>
        <p:txBody>
          <a:bodyPr lIns="0" anchor="ctr" anchorCtr="0"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 sz="20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228600">
              <a:spcBef>
                <a:spcPts val="0"/>
              </a:spcBef>
              <a:buClr>
                <a:schemeClr val="bg1"/>
              </a:buClr>
              <a:defRPr/>
            </a:lvl2pPr>
          </a:lstStyle>
          <a:p>
            <a:pPr lvl="0"/>
            <a:r>
              <a:rPr lang="en-US" dirty="0"/>
              <a:t>Add text her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55F6A82-2EA7-8C4D-A6E5-04849642E6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683AB1BC-2635-8847-B41C-2FADD8B3257E}"/>
              </a:ext>
            </a:extLst>
          </p:cNvPr>
          <p:cNvSpPr/>
          <p:nvPr userDrawn="1"/>
        </p:nvSpPr>
        <p:spPr>
          <a:xfrm>
            <a:off x="5659227" y="245204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C32DB3A-2849-8D4A-8B24-9ED495A43E8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685F9F-E87E-4E84-A301-568289B1B27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F35E76-93B0-4F75-B106-DAFB903A2B5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790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 and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565663"/>
            <a:ext cx="5854818" cy="31692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86EFD9-8225-47A7-9DFF-A350F67E94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064470" y="2302901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On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9AFAB69-F72F-B44B-BB67-D4480049D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6"/>
            <a:ext cx="10110436" cy="844095"/>
          </a:xfrm>
        </p:spPr>
        <p:txBody>
          <a:bodyPr vert="horz" lIns="0" tIns="45720" rIns="0" bIns="45720" rtlCol="0" anchor="b">
            <a:norm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Headlin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5B432C7-6194-C04D-8607-A1DFBA3219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61153" y="2302995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6493D53-065B-674D-B762-76404273F0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61153" y="2822169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D2FB6D0-D95C-6242-A795-CCD93D8A2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61153" y="3341343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25DA43B-4E3A-394F-B8B3-16A0A25D88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61153" y="3860517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0EC907BF-0F79-AE40-A0E1-10EDEEBBAE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61153" y="4379689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FFD898F-103C-F14D-85A5-5DFDF32D1E06}"/>
              </a:ext>
            </a:extLst>
          </p:cNvPr>
          <p:cNvSpPr/>
          <p:nvPr userDrawn="1"/>
        </p:nvSpPr>
        <p:spPr>
          <a:xfrm>
            <a:off x="761288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3E966DA-E5B9-074E-B0AA-F5451AF51BAE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064470" y="2822098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wo</a:t>
            </a:r>
          </a:p>
          <a:p>
            <a:pPr lvl="0"/>
            <a:endParaRPr lang="en-US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5FDD008-E0E6-4746-AB5B-78D012E92B2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064470" y="3341295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5DE72B7-8353-7C47-A8C2-69DED713D17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2064470" y="3860492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Four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D1BD307-5E4B-9647-A402-54CF30BEC3C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2064470" y="4379689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Fiv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7138000-7156-634F-A6D0-6F769025238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EAAAFB-2FCD-498D-B547-AC9CE371CCC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F62BB0-137B-434F-A197-25B5626B034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528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Quo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92BE6D0-0FF7-4E98-A703-CF3F097A67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1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6250C7C-7F0B-2B44-AAA6-883F6AB7E03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554B90B0-B853-6F47-ACDA-C26DB60F0F3D}"/>
              </a:ext>
            </a:extLst>
          </p:cNvPr>
          <p:cNvSpPr txBox="1">
            <a:spLocks/>
          </p:cNvSpPr>
          <p:nvPr userDrawn="1"/>
        </p:nvSpPr>
        <p:spPr>
          <a:xfrm>
            <a:off x="875356" y="5535006"/>
            <a:ext cx="9983144" cy="7207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914400" rtl="0" eaLnBrk="1" latinLnBrk="0" hangingPunct="1">
              <a:lnSpc>
                <a:spcPts val="1800"/>
              </a:lnSpc>
              <a:spcBef>
                <a:spcPts val="0"/>
              </a:spcBef>
              <a:buNone/>
              <a:defRPr lang="en-US" sz="1400" b="1" i="0" kern="1200">
                <a:solidFill>
                  <a:schemeClr val="bg1"/>
                </a:solidFill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endParaRPr lang="en-US" sz="1400" b="0" i="0" dirty="0"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90252080-E2D5-6447-93EB-F3E1BDF7CD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096" y="2346183"/>
            <a:ext cx="9983786" cy="2242890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32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“Click to type customer or partner quote surrounded by quotation marks.”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C9068F71-E098-E049-81D3-5491AAF8DE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8096" y="5239646"/>
            <a:ext cx="9983786" cy="249346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33" name="Text Placeholder 26">
            <a:extLst>
              <a:ext uri="{FF2B5EF4-FFF2-40B4-BE49-F238E27FC236}">
                <a16:creationId xmlns:a16="http://schemas.microsoft.com/office/drawing/2014/main" id="{87089DAA-9281-6045-B621-B0A8295117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68096" y="5564669"/>
            <a:ext cx="9983786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3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Picture Placeholder 19">
            <a:extLst>
              <a:ext uri="{FF2B5EF4-FFF2-40B4-BE49-F238E27FC236}">
                <a16:creationId xmlns:a16="http://schemas.microsoft.com/office/drawing/2014/main" id="{806BB0D3-072D-8D47-8C70-E1851CE928B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8096" y="955256"/>
            <a:ext cx="2589212" cy="110690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565B80A-580D-054A-A47B-A7433DB02574}"/>
              </a:ext>
            </a:extLst>
          </p:cNvPr>
          <p:cNvSpPr/>
          <p:nvPr userDrawn="1"/>
        </p:nvSpPr>
        <p:spPr>
          <a:xfrm>
            <a:off x="768097" y="4829530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5BF82DE-33C5-3A4E-A2BE-056AD4CD8E3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C95176-6832-4D14-B8AA-9CF49288F5D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6E2F52-3B6A-46A0-AAA4-214A1F01ED2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85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Quot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4E879062-D42A-C24B-9506-CFFED71D40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47"/>
          <a:stretch/>
        </p:blipFill>
        <p:spPr>
          <a:xfrm>
            <a:off x="0" y="254000"/>
            <a:ext cx="5133848" cy="6626102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BD2CF4-1E90-A941-8678-001223FD41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54000"/>
            <a:ext cx="5133848" cy="6626102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55F6A82-2EA7-8C4D-A6E5-04849642E6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660ACC2F-3202-B843-8CCE-6D68B1FAAF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30545" y="4661231"/>
            <a:ext cx="6315978" cy="218094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63B99ECC-6BAB-0F46-88DB-26AE80C343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30545" y="4952092"/>
            <a:ext cx="6315978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3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26">
            <a:extLst>
              <a:ext uri="{FF2B5EF4-FFF2-40B4-BE49-F238E27FC236}">
                <a16:creationId xmlns:a16="http://schemas.microsoft.com/office/drawing/2014/main" id="{38A1ED2B-730F-DB4F-8E69-07241B0A49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30545" y="1850640"/>
            <a:ext cx="6315978" cy="225153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32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“Click to type customer or partner quote surrounded by quotation marks.”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44BA13B-C4E1-6147-9655-829168E5E266}"/>
              </a:ext>
            </a:extLst>
          </p:cNvPr>
          <p:cNvSpPr/>
          <p:nvPr userDrawn="1"/>
        </p:nvSpPr>
        <p:spPr>
          <a:xfrm>
            <a:off x="5430546" y="434263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lide Number Placeholder 1">
            <a:extLst>
              <a:ext uri="{FF2B5EF4-FFF2-40B4-BE49-F238E27FC236}">
                <a16:creationId xmlns:a16="http://schemas.microsoft.com/office/drawing/2014/main" id="{BEAECEC9-004F-624F-96D0-64C7FD44095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33621" y="6349718"/>
            <a:ext cx="386443" cy="365125"/>
          </a:xfr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EFB74B7-684A-0343-AB5E-04DBC7A25953}"/>
              </a:ext>
            </a:extLst>
          </p:cNvPr>
          <p:cNvSpPr txBox="1"/>
          <p:nvPr userDrawn="1"/>
        </p:nvSpPr>
        <p:spPr>
          <a:xfrm>
            <a:off x="944517" y="6415801"/>
            <a:ext cx="5984422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000" dirty="0">
                <a:solidFill>
                  <a:schemeClr val="tx2">
                    <a:lumMod val="60000"/>
                    <a:lumOff val="40000"/>
                  </a:schemeClr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Confidential – Oracle Internal/Restricted/Highly Restricte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4238AF8-3EBB-8C42-9D7F-306684D5258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605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Quote with pictur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E7EFAFBA-C533-AF47-8C5A-87A1579768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A203EF7-0022-9042-AE87-EABCBB9B126E}"/>
              </a:ext>
            </a:extLst>
          </p:cNvPr>
          <p:cNvSpPr/>
          <p:nvPr userDrawn="1"/>
        </p:nvSpPr>
        <p:spPr>
          <a:xfrm>
            <a:off x="722371" y="587874"/>
            <a:ext cx="10747258" cy="5682253"/>
          </a:xfrm>
          <a:prstGeom prst="rect">
            <a:avLst/>
          </a:prstGeom>
          <a:solidFill>
            <a:srgbClr val="E0E2E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26">
            <a:extLst>
              <a:ext uri="{FF2B5EF4-FFF2-40B4-BE49-F238E27FC236}">
                <a16:creationId xmlns:a16="http://schemas.microsoft.com/office/drawing/2014/main" id="{F65EEC53-4965-C84F-B964-03CF9283D5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0214" y="1101969"/>
            <a:ext cx="9165494" cy="2975336"/>
          </a:xfrm>
        </p:spPr>
        <p:txBody>
          <a:bodyPr lIns="0" anchor="b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32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“Click to type customer or partner quote surrounded by quotation marks.”</a:t>
            </a:r>
          </a:p>
        </p:txBody>
      </p:sp>
      <p:sp>
        <p:nvSpPr>
          <p:cNvPr id="31" name="Text Placeholder 26">
            <a:extLst>
              <a:ext uri="{FF2B5EF4-FFF2-40B4-BE49-F238E27FC236}">
                <a16:creationId xmlns:a16="http://schemas.microsoft.com/office/drawing/2014/main" id="{1AD57123-EDE4-954E-9A92-A3083B1C27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30214" y="4637490"/>
            <a:ext cx="9165494" cy="249346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9C7075CA-1EBB-F043-A768-C5814E1A584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30214" y="4962513"/>
            <a:ext cx="9165494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3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BC74FEB-50F3-4449-8D38-99E6A564975E}"/>
              </a:ext>
            </a:extLst>
          </p:cNvPr>
          <p:cNvSpPr/>
          <p:nvPr userDrawn="1"/>
        </p:nvSpPr>
        <p:spPr>
          <a:xfrm>
            <a:off x="1530215" y="430369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066F36DD-F60C-6546-9240-CD06125DC85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33621" y="6349718"/>
            <a:ext cx="38644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272AD2F-E71B-794F-9680-FD1C16A0CC41}"/>
              </a:ext>
            </a:extLst>
          </p:cNvPr>
          <p:cNvSpPr txBox="1"/>
          <p:nvPr userDrawn="1"/>
        </p:nvSpPr>
        <p:spPr>
          <a:xfrm>
            <a:off x="944517" y="6415801"/>
            <a:ext cx="5984422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Confidential – Oracle Internal/Restricted/Highly Restricted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8583B7E-CE5D-AD4D-B063-8E5D2E58D0E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442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Light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4508411"/>
            <a:ext cx="5854818" cy="23419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B599F-269A-4E45-BB4E-31A49D23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6"/>
            <a:ext cx="9887834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86EFD9-8225-47A7-9DFF-A350F67E94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68095" y="2288559"/>
            <a:ext cx="9887835" cy="336037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kern="0" spc="0" baseline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Duis vitae </a:t>
            </a:r>
            <a:r>
              <a:rPr lang="en-US" dirty="0" err="1"/>
              <a:t>interdum</a:t>
            </a:r>
            <a:r>
              <a:rPr lang="en-US" dirty="0"/>
              <a:t> diam, non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etus</a:t>
            </a:r>
            <a:r>
              <a:rPr lang="en-US" dirty="0"/>
              <a:t> sed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354AA-8715-3B44-8031-FEACECD4374F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97D596B-4276-C840-B6F0-D309028DB43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F03394-9473-4450-8FF2-944DA47113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09A7D7-1838-4598-8915-BF0739FE03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153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-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4508411"/>
            <a:ext cx="5854818" cy="23419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B599F-269A-4E45-BB4E-31A49D23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6"/>
            <a:ext cx="9887834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itle-Only Layou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354AA-8715-3B44-8031-FEACECD4374F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C190DBB-69E8-094F-9F7D-5D6A482AA94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1AD6C94-D81A-4373-BA17-63D490F7AB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2233A9-8B36-4159-8975-F1366CB54C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7036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Light Title and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4508411"/>
            <a:ext cx="5854818" cy="23419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B599F-269A-4E45-BB4E-31A49D23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6"/>
            <a:ext cx="9887834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itle and Subtitle Layo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86EFD9-8225-47A7-9DFF-A350F67E94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68095" y="2288559"/>
            <a:ext cx="9887835" cy="336037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kern="0" spc="0" baseline="0">
                <a:solidFill>
                  <a:srgbClr val="4A362B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Duis vitae </a:t>
            </a:r>
            <a:r>
              <a:rPr lang="en-US" dirty="0" err="1"/>
              <a:t>interdum</a:t>
            </a:r>
            <a:r>
              <a:rPr lang="en-US" dirty="0"/>
              <a:t> diam, non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etus</a:t>
            </a:r>
            <a:r>
              <a:rPr lang="en-US" dirty="0"/>
              <a:t> sed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354AA-8715-3B44-8031-FEACECD4374F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0A31DDD-B87C-9941-AC16-648C97686F8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307A0B-BD36-4925-BB53-F5C39932C52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9B5254-C1BE-4BD7-AEA0-11CA078C989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527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 with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260AB3B5-6759-364A-B98F-4622117D77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4508411"/>
            <a:ext cx="5854818" cy="2341927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B46B041F-833F-AB4C-9680-F86574375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5" y="783026"/>
            <a:ext cx="10210297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wo Content Layout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EF88010-6F25-0949-962C-71A71BBDD2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AE5D2D5-96D0-7047-93E6-327A01072B11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AD7BD674-7999-F54A-88FF-3F982D4775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68095" y="2289175"/>
            <a:ext cx="502920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0A188CAD-EDD5-0B4B-ACA6-7BB921B673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49192" y="2289175"/>
            <a:ext cx="502920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C89915E-3BB4-984C-995B-EC93CAB6F86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7BE2BE7-A786-40D1-899E-BA0BC0A3062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BFAA5D-3D6F-42A2-BC58-445E0F3D633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4804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 with 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260AB3B5-6759-364A-B98F-4622117D77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4508411"/>
            <a:ext cx="5854818" cy="2341927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B46B041F-833F-AB4C-9680-F86574375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5" y="783026"/>
            <a:ext cx="10210297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hree Content Layout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EF88010-6F25-0949-962C-71A71BBDD2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AE5D2D5-96D0-7047-93E6-327A01072B11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AD7BD674-7999-F54A-88FF-3F982D4775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68095" y="2289175"/>
            <a:ext cx="327147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8BB1C4CD-239E-1A45-BED4-F5593A57A2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37508" y="2289175"/>
            <a:ext cx="327147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33">
            <a:extLst>
              <a:ext uri="{FF2B5EF4-FFF2-40B4-BE49-F238E27FC236}">
                <a16:creationId xmlns:a16="http://schemas.microsoft.com/office/drawing/2014/main" id="{C944C2F4-C444-E840-AF85-154A3F44C6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706922" y="2289175"/>
            <a:ext cx="327147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AD64B38-6D6E-134B-A424-A829933EEF4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4C75FCB-2F08-4218-8648-A3F1B1E55A7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DDCF91-9764-4404-A8F5-D333B2B56FE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5422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Quadrant for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260AB3B5-6759-364A-B98F-4622117D77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4508411"/>
            <a:ext cx="5854818" cy="2341927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B46B041F-833F-AB4C-9680-F86574375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5" y="783026"/>
            <a:ext cx="10210297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Quadrant for infographics Layout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EF88010-6F25-0949-962C-71A71BBDD2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AE5D2D5-96D0-7047-93E6-327A01072B11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83F18B1C-2F6B-9349-8DAB-48E7D54A83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04246" y="4162024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2" name="Text Placeholder 33">
            <a:extLst>
              <a:ext uri="{FF2B5EF4-FFF2-40B4-BE49-F238E27FC236}">
                <a16:creationId xmlns:a16="http://schemas.microsoft.com/office/drawing/2014/main" id="{0EF89F6D-A8E2-0348-8488-D69D629143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04270" y="2271143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4" name="Text Placeholder 33">
            <a:extLst>
              <a:ext uri="{FF2B5EF4-FFF2-40B4-BE49-F238E27FC236}">
                <a16:creationId xmlns:a16="http://schemas.microsoft.com/office/drawing/2014/main" id="{A0723324-5918-2C42-9A87-949E736CBF1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04270" y="4162024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B4578909-EA57-4049-8339-75544D89FC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204246" y="2278497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Lorem ipsum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6FDFA13-DE4E-D74A-967B-DF86B2E0187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6AC52EB-2486-4E8F-B076-394C9E4D6BB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FE87C6-A422-44C8-ACAF-34E689290F23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0449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Metr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D46810D-06AF-8048-A8FC-EB9C64BA98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1286" y="2275167"/>
            <a:ext cx="1906500" cy="914400"/>
          </a:xfrm>
        </p:spPr>
        <p:txBody>
          <a:bodyPr lIns="0" rIns="0">
            <a:noAutofit/>
          </a:bodyPr>
          <a:lstStyle>
            <a:lvl1pPr>
              <a:defRPr sz="6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4354AFA5-AF57-6040-82D7-328298E6DA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286" y="3231646"/>
            <a:ext cx="4371153" cy="914400"/>
          </a:xfr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1800" b="0" i="0">
                <a:solidFill>
                  <a:srgbClr val="4A362B"/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Duis vitae </a:t>
            </a:r>
            <a:r>
              <a:rPr lang="en-US" dirty="0" err="1"/>
              <a:t>interdum</a:t>
            </a:r>
            <a:r>
              <a:rPr lang="en-US" dirty="0"/>
              <a:t> diam, non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D1D0A30-5593-40C9-9453-438629C2E1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A02545-480D-4E7B-9346-BAF45A820D1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35EE8B-95EA-4038-994D-5F9FD147E4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0"/>
            <a:ext cx="609600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85AD46E-6202-4D45-AEE6-9E3FC0694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649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hank yo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building, clothing&#10;&#10;Description automatically generated">
            <a:extLst>
              <a:ext uri="{FF2B5EF4-FFF2-40B4-BE49-F238E27FC236}">
                <a16:creationId xmlns:a16="http://schemas.microsoft.com/office/drawing/2014/main" id="{B16600C8-A851-494D-A5DF-470343F874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2A2E959E-F30E-F643-947E-CE66F05DD80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Text Placeholder 26">
            <a:extLst>
              <a:ext uri="{FF2B5EF4-FFF2-40B4-BE49-F238E27FC236}">
                <a16:creationId xmlns:a16="http://schemas.microsoft.com/office/drawing/2014/main" id="{2AFE612B-3DB1-C64D-BD3B-51ECDB8CE4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095" y="2346183"/>
            <a:ext cx="4257726" cy="2242890"/>
          </a:xfrm>
        </p:spPr>
        <p:txBody>
          <a:bodyPr lIns="0" anchor="ctr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4000" b="0" i="0">
                <a:solidFill>
                  <a:srgbClr val="4E3629"/>
                </a:solidFill>
                <a:latin typeface="Georgia" panose="02040502050405020303" pitchFamily="18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0" name="Text Placeholder 26">
            <a:extLst>
              <a:ext uri="{FF2B5EF4-FFF2-40B4-BE49-F238E27FC236}">
                <a16:creationId xmlns:a16="http://schemas.microsoft.com/office/drawing/2014/main" id="{7F794D52-5437-F64A-97D5-34BE49EA9B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8095" y="5239646"/>
            <a:ext cx="4257726" cy="249346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1" name="Text Placeholder 26">
            <a:extLst>
              <a:ext uri="{FF2B5EF4-FFF2-40B4-BE49-F238E27FC236}">
                <a16:creationId xmlns:a16="http://schemas.microsoft.com/office/drawing/2014/main" id="{1975E737-A6D5-0E4E-AA04-5FECD0BE96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68095" y="5564669"/>
            <a:ext cx="4257726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ECAD913-B3D1-D145-A54B-58496F5971A5}"/>
              </a:ext>
            </a:extLst>
          </p:cNvPr>
          <p:cNvSpPr/>
          <p:nvPr userDrawn="1"/>
        </p:nvSpPr>
        <p:spPr>
          <a:xfrm>
            <a:off x="768096" y="4829530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EF0904C-A879-D843-B633-25611F0A9B7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411D17-F083-41F6-918B-798D71F778A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C0E5B1C-BBF2-49B4-9888-69F0DADBBD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919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hank you 2">
    <p:bg>
      <p:bgPr>
        <a:solidFill>
          <a:srgbClr val="723E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7E9993A3-6C44-3E43-901B-8B5EA2ACF64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9A101D4-18B6-9A46-8025-E830A44D3C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2" name="Text Placeholder 26">
            <a:extLst>
              <a:ext uri="{FF2B5EF4-FFF2-40B4-BE49-F238E27FC236}">
                <a16:creationId xmlns:a16="http://schemas.microsoft.com/office/drawing/2014/main" id="{CD757BAF-41C4-7642-A4DE-49E96BDAD7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095" y="2346183"/>
            <a:ext cx="4257726" cy="2242890"/>
          </a:xfrm>
        </p:spPr>
        <p:txBody>
          <a:bodyPr lIns="0" anchor="ctr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4000" b="0" i="0">
                <a:solidFill>
                  <a:schemeClr val="bg1"/>
                </a:solidFill>
                <a:latin typeface="Georgia" panose="02040502050405020303" pitchFamily="18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15" name="Text Placeholder 26">
            <a:extLst>
              <a:ext uri="{FF2B5EF4-FFF2-40B4-BE49-F238E27FC236}">
                <a16:creationId xmlns:a16="http://schemas.microsoft.com/office/drawing/2014/main" id="{63FD2FE0-050F-8C48-9CCE-7426577AFA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8095" y="5239646"/>
            <a:ext cx="4257726" cy="249346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solidFill>
                  <a:schemeClr val="bg1"/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6" name="Text Placeholder 26">
            <a:extLst>
              <a:ext uri="{FF2B5EF4-FFF2-40B4-BE49-F238E27FC236}">
                <a16:creationId xmlns:a16="http://schemas.microsoft.com/office/drawing/2014/main" id="{9B9976F2-AC01-0B48-8E64-DD931422FA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68095" y="5564669"/>
            <a:ext cx="4257726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6E9DA60-A8F5-5C46-87BD-583E2F3FB50A}"/>
              </a:ext>
            </a:extLst>
          </p:cNvPr>
          <p:cNvSpPr/>
          <p:nvPr userDrawn="1"/>
        </p:nvSpPr>
        <p:spPr>
          <a:xfrm>
            <a:off x="768096" y="4829530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8DA1F36F-A66E-2744-9B9A-0F241EF7D8E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-786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D5DCFC1-0F99-EB42-9252-693A872EE5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727DC7F-5A5A-4C5E-9803-014AD28FF47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FF94833-4AC2-476E-A6DE-A03E7A4DDD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404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gray">
          <a:xfrm>
            <a:off x="531952" y="1524000"/>
            <a:ext cx="6097587" cy="4416725"/>
          </a:xfrm>
          <a:solidFill>
            <a:schemeClr val="bg2"/>
          </a:solidFill>
        </p:spPr>
        <p:txBody>
          <a:bodyPr tIns="182880">
            <a:noAutofit/>
          </a:bodyPr>
          <a:lstStyle>
            <a:lvl1pPr marL="0" indent="0" algn="ctr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10638" y="1524000"/>
            <a:ext cx="4649412" cy="4419600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© 2019 Oracle and/or its affliates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EAA63-D034-42AE-91FA-B13B9518C7BE}" type="slidenum">
              <a:rPr lang="uk-UA" smtClean="0"/>
              <a:pPr/>
              <a:t>‹Nº›</a:t>
            </a:fld>
            <a:endParaRPr lang="uk-UA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84690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351873"/>
            <a:ext cx="10515600" cy="1325563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1289" y="1981200"/>
            <a:ext cx="11129420" cy="3962400"/>
          </a:xfrm>
        </p:spPr>
        <p:txBody>
          <a:bodyPr/>
          <a:lstStyle>
            <a:lvl1pPr>
              <a:defRPr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>
              <a:defRPr b="0" i="0">
                <a:latin typeface="Oracle Sans" panose="020B0503020204020204" pitchFamily="34" charset="0"/>
                <a:cs typeface="Oracle Sans" panose="020B0503020204020204" pitchFamily="34" charset="0"/>
              </a:defRPr>
            </a:lvl2pPr>
            <a:lvl3pPr>
              <a:defRPr b="0" i="0">
                <a:latin typeface="Oracle Sans" panose="020B0503020204020204" pitchFamily="34" charset="0"/>
                <a:cs typeface="Oracle Sans" panose="020B0503020204020204" pitchFamily="34" charset="0"/>
              </a:defRPr>
            </a:lvl3pPr>
            <a:lvl4pPr>
              <a:defRPr b="0" i="0">
                <a:latin typeface="Oracle Sans" panose="020B0503020204020204" pitchFamily="34" charset="0"/>
                <a:cs typeface="Oracle Sans" panose="020B0503020204020204" pitchFamily="34" charset="0"/>
              </a:defRPr>
            </a:lvl4pPr>
            <a:lvl5pPr>
              <a:defRPr b="0" i="0">
                <a:latin typeface="Oracle Sans" panose="020B0503020204020204" pitchFamily="34" charset="0"/>
                <a:cs typeface="Oracle Sans" panose="020B0503020204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© 2019 Oracle and/or its affliates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EAA63-D034-42AE-91FA-B13B9518C7BE}" type="slidenum">
              <a:rPr lang="uk-UA" smtClean="0"/>
              <a:pPr/>
              <a:t>‹Nº›</a:t>
            </a:fld>
            <a:endParaRPr lang="uk-UA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31952" y="1373742"/>
            <a:ext cx="11128097" cy="343299"/>
          </a:xfrm>
        </p:spPr>
        <p:txBody>
          <a:bodyPr>
            <a:noAutofit/>
          </a:bodyPr>
          <a:lstStyle>
            <a:lvl1pPr marL="1588" indent="0">
              <a:spcBef>
                <a:spcPts val="0"/>
              </a:spcBef>
              <a:buFontTx/>
              <a:buNone/>
              <a:defRPr sz="2400" b="0" i="0" baseline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1588" indent="0">
              <a:buFontTx/>
              <a:buNone/>
              <a:defRPr sz="2400"/>
            </a:lvl2pPr>
            <a:lvl3pPr marL="1588" indent="0">
              <a:buFontTx/>
              <a:buNone/>
              <a:defRPr sz="2400"/>
            </a:lvl3pPr>
            <a:lvl4pPr marL="1588" indent="0">
              <a:buFontTx/>
              <a:buNone/>
              <a:defRPr sz="2400"/>
            </a:lvl4pPr>
            <a:lvl5pPr marL="1588" indent="0">
              <a:buFontTx/>
              <a:buNone/>
              <a:defRPr sz="2400"/>
            </a:lvl5pPr>
            <a:lvl6pPr marL="1588" indent="0">
              <a:buFontTx/>
              <a:buNone/>
              <a:defRPr sz="2400"/>
            </a:lvl6pPr>
            <a:lvl7pPr marL="1588" indent="0">
              <a:buFontTx/>
              <a:buNone/>
              <a:defRPr sz="2400"/>
            </a:lvl7pPr>
            <a:lvl8pPr marL="1588" indent="0">
              <a:buFontTx/>
              <a:buNone/>
              <a:defRPr sz="2400"/>
            </a:lvl8pPr>
            <a:lvl9pPr marL="1588" indent="0">
              <a:buFontTx/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153626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Remote speak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4E879062-D42A-C24B-9506-CFFED71D40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47"/>
          <a:stretch/>
        </p:blipFill>
        <p:spPr>
          <a:xfrm>
            <a:off x="0" y="254000"/>
            <a:ext cx="5133848" cy="6626102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BD2CF4-1E90-A941-8678-001223FD41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54000"/>
            <a:ext cx="5133848" cy="6626102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48B0DA0-F967-2742-83CF-A94F1A88E5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59226" y="1729568"/>
            <a:ext cx="6184238" cy="482019"/>
          </a:xfrm>
        </p:spPr>
        <p:txBody>
          <a:bodyPr lIns="0" anchor="b">
            <a:noAutofit/>
          </a:bodyPr>
          <a:lstStyle>
            <a:lvl1pPr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085E64C9-9C43-0840-BE43-4074F7178F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59226" y="2852531"/>
            <a:ext cx="6184237" cy="2587963"/>
          </a:xfrm>
        </p:spPr>
        <p:txBody>
          <a:bodyPr lIns="0" anchor="ctr" anchorCtr="0"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 sz="20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228600">
              <a:spcBef>
                <a:spcPts val="0"/>
              </a:spcBef>
              <a:buClr>
                <a:schemeClr val="bg1"/>
              </a:buClr>
              <a:defRPr/>
            </a:lvl2pPr>
          </a:lstStyle>
          <a:p>
            <a:pPr lvl="0"/>
            <a:r>
              <a:rPr lang="en-US" dirty="0"/>
              <a:t>Add text her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55F6A82-2EA7-8C4D-A6E5-04849642E6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683AB1BC-2635-8847-B41C-2FADD8B3257E}"/>
              </a:ext>
            </a:extLst>
          </p:cNvPr>
          <p:cNvSpPr/>
          <p:nvPr userDrawn="1"/>
        </p:nvSpPr>
        <p:spPr>
          <a:xfrm>
            <a:off x="5659227" y="245204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C32DB3A-2849-8D4A-8B24-9ED495A43E8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685F9F-E87E-4E84-A301-568289B1B27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F35E76-93B0-4F75-B106-DAFB903A2B5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5050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9" descr="FY13 NATO Rep Roadshow-Corner Graphic_052512A_1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055504" y="1"/>
            <a:ext cx="2136496" cy="282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0221351"/>
      </p:ext>
    </p:extLst>
  </p:cSld>
  <p:clrMapOvr>
    <a:masterClrMapping/>
  </p:clrMapOvr>
  <p:transition>
    <p:wipe dir="r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Quadrant for Info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© 2019 Oracle and/or its affliates.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EAA63-D034-42AE-91FA-B13B9518C7BE}" type="slidenum">
              <a:rPr/>
              <a:pPr/>
              <a:t>‹Nº›</a:t>
            </a:fld>
            <a:endParaRPr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437446" y="1524001"/>
            <a:ext cx="3506114" cy="2011680"/>
          </a:xfrm>
        </p:spPr>
        <p:txBody>
          <a:bodyPr anchor="ctr">
            <a:noAutofit/>
          </a:bodyPr>
          <a:lstStyle>
            <a:lvl1pPr marL="0" indent="0">
              <a:spcBef>
                <a:spcPts val="1200"/>
              </a:spcBef>
              <a:buFont typeface="Arial" panose="020B0604020202020204" pitchFamily="34" charset="0"/>
              <a:buNone/>
              <a:defRPr sz="2400"/>
            </a:lvl1pPr>
            <a:lvl2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2pPr>
            <a:lvl3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3pPr>
            <a:lvl4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4pPr>
            <a:lvl5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5pPr>
            <a:lvl6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6pPr>
            <a:lvl7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7pPr>
            <a:lvl8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8pPr>
            <a:lvl9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8153936" y="1524001"/>
            <a:ext cx="3506114" cy="2011680"/>
          </a:xfrm>
        </p:spPr>
        <p:txBody>
          <a:bodyPr anchor="ctr">
            <a:noAutofit/>
          </a:bodyPr>
          <a:lstStyle>
            <a:lvl1pPr marL="0" indent="0">
              <a:spcBef>
                <a:spcPts val="1200"/>
              </a:spcBef>
              <a:buFont typeface="Arial" panose="020B0604020202020204" pitchFamily="34" charset="0"/>
              <a:buNone/>
              <a:defRPr sz="2400"/>
            </a:lvl1pPr>
            <a:lvl2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2pPr>
            <a:lvl3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3pPr>
            <a:lvl4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4pPr>
            <a:lvl5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5pPr>
            <a:lvl6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6pPr>
            <a:lvl7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7pPr>
            <a:lvl8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8pPr>
            <a:lvl9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2437446" y="3931920"/>
            <a:ext cx="3506114" cy="2011680"/>
          </a:xfrm>
        </p:spPr>
        <p:txBody>
          <a:bodyPr anchor="ctr">
            <a:noAutofit/>
          </a:bodyPr>
          <a:lstStyle>
            <a:lvl1pPr marL="0" indent="0">
              <a:spcBef>
                <a:spcPts val="1200"/>
              </a:spcBef>
              <a:buFont typeface="Arial" panose="020B0604020202020204" pitchFamily="34" charset="0"/>
              <a:buNone/>
              <a:defRPr sz="2400"/>
            </a:lvl1pPr>
            <a:lvl2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2pPr>
            <a:lvl3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3pPr>
            <a:lvl4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4pPr>
            <a:lvl5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5pPr>
            <a:lvl6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6pPr>
            <a:lvl7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7pPr>
            <a:lvl8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8pPr>
            <a:lvl9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8153936" y="3931920"/>
            <a:ext cx="3506114" cy="2011680"/>
          </a:xfrm>
        </p:spPr>
        <p:txBody>
          <a:bodyPr anchor="ctr">
            <a:noAutofit/>
          </a:bodyPr>
          <a:lstStyle>
            <a:lvl1pPr marL="0" indent="0">
              <a:spcBef>
                <a:spcPts val="1200"/>
              </a:spcBef>
              <a:buFont typeface="Arial" panose="020B0604020202020204" pitchFamily="34" charset="0"/>
              <a:buNone/>
              <a:defRPr sz="2400"/>
            </a:lvl1pPr>
            <a:lvl2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2pPr>
            <a:lvl3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3pPr>
            <a:lvl4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4pPr>
            <a:lvl5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5pPr>
            <a:lvl6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6pPr>
            <a:lvl7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7pPr>
            <a:lvl8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8pPr>
            <a:lvl9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12219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© 2019 Oracle and/or its affliates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EAA63-D034-42AE-91FA-B13B9518C7BE}" type="slidenum">
              <a:rPr lang="uk-UA" smtClean="0"/>
              <a:pPr/>
              <a:t>‹Nº›</a:t>
            </a:fld>
            <a:endParaRPr lang="uk-U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6652" y="325369"/>
            <a:ext cx="10515600" cy="1325563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1186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EAA63-D034-42AE-91FA-B13B9518C7BE}" type="slidenum">
              <a:rPr lang="uk-UA" smtClean="0"/>
              <a:pPr/>
              <a:t>‹Nº›</a:t>
            </a:fld>
            <a:endParaRPr lang="uk-UA" dirty="0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31952" y="1373741"/>
            <a:ext cx="11128096" cy="343299"/>
          </a:xfrm>
        </p:spPr>
        <p:txBody>
          <a:bodyPr>
            <a:noAutofit/>
          </a:bodyPr>
          <a:lstStyle>
            <a:lvl1pPr marL="1588" indent="0">
              <a:spcBef>
                <a:spcPts val="0"/>
              </a:spcBef>
              <a:buFontTx/>
              <a:buNone/>
              <a:defRPr sz="2400" b="1" baseline="0"/>
            </a:lvl1pPr>
            <a:lvl2pPr marL="1588" indent="0">
              <a:buFontTx/>
              <a:buNone/>
              <a:defRPr sz="2400"/>
            </a:lvl2pPr>
            <a:lvl3pPr marL="1588" indent="0">
              <a:buFontTx/>
              <a:buNone/>
              <a:defRPr sz="2400"/>
            </a:lvl3pPr>
            <a:lvl4pPr marL="1588" indent="0">
              <a:buFontTx/>
              <a:buNone/>
              <a:defRPr sz="2400"/>
            </a:lvl4pPr>
            <a:lvl5pPr marL="1588" indent="0">
              <a:buFontTx/>
              <a:buNone/>
              <a:defRPr sz="2400"/>
            </a:lvl5pPr>
            <a:lvl6pPr marL="1588" indent="0">
              <a:buFontTx/>
              <a:buNone/>
              <a:defRPr sz="2400"/>
            </a:lvl6pPr>
            <a:lvl7pPr marL="1588" indent="0">
              <a:buFontTx/>
              <a:buNone/>
              <a:defRPr sz="2400"/>
            </a:lvl7pPr>
            <a:lvl8pPr marL="1588" indent="0">
              <a:buFontTx/>
              <a:buNone/>
              <a:defRPr sz="2400"/>
            </a:lvl8pPr>
            <a:lvl9pPr marL="1588" indent="0">
              <a:buFontTx/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89673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Light Cov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44D8A55-64A2-6045-A65D-ED6F0635E2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4602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605429F-4AA3-4512-BC86-38E21D103B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4602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AB0CB70-8FD1-4997-A460-4D538A7747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46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788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ight Cov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F198333D-FF3E-E64D-8889-26B8EFCA26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6495E0F7-BDCD-40B6-ADD2-43E4A94DFE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85430" y="3138723"/>
            <a:ext cx="4421144" cy="58055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E168684-FFB1-43A8-8F38-E29A90C0F3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78F2BF44-4090-40C1-916C-0C3DE4840F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85430" y="3138723"/>
            <a:ext cx="4421144" cy="58055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676E3F7-8E6F-4CDC-A995-A13294AE90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E26490FC-392D-4622-901E-7AFEA12D54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85430" y="3138723"/>
            <a:ext cx="4421144" cy="580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109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ight Title slide with pictur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08427B9D-AAC0-4043-8DC3-58E7B3497D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" y="0"/>
            <a:ext cx="12192000" cy="6858000"/>
          </a:xfrm>
          <a:custGeom>
            <a:avLst/>
            <a:gdLst>
              <a:gd name="connsiteX0" fmla="*/ 722372 w 12192000"/>
              <a:gd name="connsiteY0" fmla="*/ 587874 h 6858000"/>
              <a:gd name="connsiteX1" fmla="*/ 722372 w 12192000"/>
              <a:gd name="connsiteY1" fmla="*/ 6270127 h 6858000"/>
              <a:gd name="connsiteX2" fmla="*/ 11469630 w 12192000"/>
              <a:gd name="connsiteY2" fmla="*/ 6270127 h 6858000"/>
              <a:gd name="connsiteX3" fmla="*/ 11469630 w 12192000"/>
              <a:gd name="connsiteY3" fmla="*/ 58787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22372" y="587874"/>
                </a:moveTo>
                <a:lnTo>
                  <a:pt x="722372" y="6270127"/>
                </a:lnTo>
                <a:lnTo>
                  <a:pt x="11469630" y="6270127"/>
                </a:lnTo>
                <a:lnTo>
                  <a:pt x="11469630" y="58787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9840B289-DD9F-42D1-BB13-0675E99B75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837" y="1047074"/>
            <a:ext cx="1325468" cy="174051"/>
          </a:xfrm>
          <a:prstGeom prst="rect">
            <a:avLst/>
          </a:prstGeom>
        </p:spPr>
      </p:pic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C08E0869-9921-1B40-A001-9F36EFAFD2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3612" y="3892527"/>
            <a:ext cx="10073301" cy="1830180"/>
          </a:xfrm>
        </p:spPr>
        <p:txBody>
          <a:bodyPr lIns="0" rIns="0">
            <a:noAutofit/>
          </a:bodyPr>
          <a:lstStyle>
            <a:lvl1pPr marL="0" indent="0">
              <a:lnSpc>
                <a:spcPts val="1400"/>
              </a:lnSpc>
              <a:buFont typeface="+mj-lt"/>
              <a:buNone/>
              <a:defRPr sz="1600" b="0" i="0">
                <a:solidFill>
                  <a:schemeClr val="accent2">
                    <a:lumMod val="50000"/>
                  </a:schemeClr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presenter’s name, title, division/business unit/organization and date</a:t>
            </a:r>
          </a:p>
          <a:p>
            <a:pPr lvl="0"/>
            <a:endParaRPr lang="en-US" dirty="0"/>
          </a:p>
        </p:txBody>
      </p:sp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268196"/>
            <a:ext cx="10076344" cy="9099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214302"/>
            <a:ext cx="10076344" cy="416073"/>
          </a:xfrm>
        </p:spPr>
        <p:txBody>
          <a:bodyPr wrap="none"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03E5790-E5CB-1347-9573-FD40FA99C9A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1" name="Picture 10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4C6A237A-D907-457C-9B5B-2C742E762A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" y="0"/>
            <a:ext cx="12192000" cy="6858000"/>
          </a:xfrm>
          <a:custGeom>
            <a:avLst/>
            <a:gdLst>
              <a:gd name="connsiteX0" fmla="*/ 722372 w 12192000"/>
              <a:gd name="connsiteY0" fmla="*/ 587874 h 6858000"/>
              <a:gd name="connsiteX1" fmla="*/ 722372 w 12192000"/>
              <a:gd name="connsiteY1" fmla="*/ 6270127 h 6858000"/>
              <a:gd name="connsiteX2" fmla="*/ 11469630 w 12192000"/>
              <a:gd name="connsiteY2" fmla="*/ 6270127 h 6858000"/>
              <a:gd name="connsiteX3" fmla="*/ 11469630 w 12192000"/>
              <a:gd name="connsiteY3" fmla="*/ 58787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22372" y="587874"/>
                </a:moveTo>
                <a:lnTo>
                  <a:pt x="722372" y="6270127"/>
                </a:lnTo>
                <a:lnTo>
                  <a:pt x="11469630" y="6270127"/>
                </a:lnTo>
                <a:lnTo>
                  <a:pt x="11469630" y="58787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E6E079A5-C894-499D-AA46-1E250CA0C4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837" y="1047074"/>
            <a:ext cx="1325468" cy="17405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25C6605-02C0-44F6-AA7F-126AF0A61B6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8" name="Picture 17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911A2320-F6B5-484A-BF96-2F393165E1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" y="0"/>
            <a:ext cx="12192000" cy="6858000"/>
          </a:xfrm>
          <a:custGeom>
            <a:avLst/>
            <a:gdLst>
              <a:gd name="connsiteX0" fmla="*/ 722372 w 12192000"/>
              <a:gd name="connsiteY0" fmla="*/ 587874 h 6858000"/>
              <a:gd name="connsiteX1" fmla="*/ 722372 w 12192000"/>
              <a:gd name="connsiteY1" fmla="*/ 6270127 h 6858000"/>
              <a:gd name="connsiteX2" fmla="*/ 11469630 w 12192000"/>
              <a:gd name="connsiteY2" fmla="*/ 6270127 h 6858000"/>
              <a:gd name="connsiteX3" fmla="*/ 11469630 w 12192000"/>
              <a:gd name="connsiteY3" fmla="*/ 58787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22372" y="587874"/>
                </a:moveTo>
                <a:lnTo>
                  <a:pt x="722372" y="6270127"/>
                </a:lnTo>
                <a:lnTo>
                  <a:pt x="11469630" y="6270127"/>
                </a:lnTo>
                <a:lnTo>
                  <a:pt x="11469630" y="58787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83F2A6E7-2B7E-4FAD-8600-62DF0A8D7D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837" y="1047074"/>
            <a:ext cx="1325468" cy="17405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9D15D48-802F-41AA-B348-EF91D8DBFE0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501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igh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music, black&#10;&#10;Description automatically generated">
            <a:extLst>
              <a:ext uri="{FF2B5EF4-FFF2-40B4-BE49-F238E27FC236}">
                <a16:creationId xmlns:a16="http://schemas.microsoft.com/office/drawing/2014/main" id="{1DB4A463-D340-944F-9609-68DBCA3E879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293"/>
          <a:stretch/>
        </p:blipFill>
        <p:spPr>
          <a:xfrm>
            <a:off x="9335" y="1125489"/>
            <a:ext cx="2864667" cy="1649788"/>
          </a:xfrm>
          <a:prstGeom prst="rect">
            <a:avLst/>
          </a:prstGeom>
        </p:spPr>
      </p:pic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C08E0869-9921-1B40-A001-9F36EFAFD2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3612" y="3892527"/>
            <a:ext cx="10073301" cy="1830180"/>
          </a:xfrm>
        </p:spPr>
        <p:txBody>
          <a:bodyPr lIns="0" rIns="0">
            <a:noAutofit/>
          </a:bodyPr>
          <a:lstStyle>
            <a:lvl1pPr marL="0" indent="0">
              <a:lnSpc>
                <a:spcPts val="1400"/>
              </a:lnSpc>
              <a:buFont typeface="+mj-lt"/>
              <a:buNone/>
              <a:defRPr lang="en-US" sz="1600" b="0" i="0" kern="1200" dirty="0">
                <a:solidFill>
                  <a:schemeClr val="accent2">
                    <a:lumMod val="50000"/>
                  </a:schemeClr>
                </a:solidFill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presenter’s name, title, division/business unit/organization and date</a:t>
            </a:r>
          </a:p>
          <a:p>
            <a:pPr lvl="0"/>
            <a:endParaRPr lang="en-US" dirty="0"/>
          </a:p>
        </p:txBody>
      </p:sp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268196"/>
            <a:ext cx="10076344" cy="9099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214302"/>
            <a:ext cx="10076344" cy="416073"/>
          </a:xfrm>
        </p:spPr>
        <p:txBody>
          <a:bodyPr wrap="none"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AFB15DC-5FE4-4DDC-A537-8AF313CC78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837" y="1047074"/>
            <a:ext cx="1325468" cy="17405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E0D0A08-14EC-6F42-B9D0-680043B1916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0" name="Picture 9" descr="A picture containing music, black&#10;&#10;Description automatically generated">
            <a:extLst>
              <a:ext uri="{FF2B5EF4-FFF2-40B4-BE49-F238E27FC236}">
                <a16:creationId xmlns:a16="http://schemas.microsoft.com/office/drawing/2014/main" id="{0B457B79-0CD2-464C-9433-7B44580486C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293"/>
          <a:stretch/>
        </p:blipFill>
        <p:spPr>
          <a:xfrm>
            <a:off x="9335" y="1125489"/>
            <a:ext cx="2864667" cy="1649788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839BA4CA-BAE5-4867-A4B4-93A865707E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837" y="1047074"/>
            <a:ext cx="1325468" cy="17405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8D5C5FF-E761-435E-8D4E-2415E42060D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8" name="Picture 17" descr="A picture containing music, black&#10;&#10;Description automatically generated">
            <a:extLst>
              <a:ext uri="{FF2B5EF4-FFF2-40B4-BE49-F238E27FC236}">
                <a16:creationId xmlns:a16="http://schemas.microsoft.com/office/drawing/2014/main" id="{E58BEBE1-075C-4D12-9552-B1A4496049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293"/>
          <a:stretch/>
        </p:blipFill>
        <p:spPr>
          <a:xfrm>
            <a:off x="9335" y="1125489"/>
            <a:ext cx="2864667" cy="1649788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EAF3A74B-331E-4150-AE74-672C84F781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837" y="1047074"/>
            <a:ext cx="1325468" cy="17405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E5B455C-FF48-461E-8922-7F3D39E2AA8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376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ight Title slide with bor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D10A2AE4-7C9C-4FBA-90B0-0F9F3467EA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" y="0"/>
            <a:ext cx="12192000" cy="6858000"/>
          </a:xfrm>
          <a:custGeom>
            <a:avLst/>
            <a:gdLst>
              <a:gd name="connsiteX0" fmla="*/ 722372 w 12192000"/>
              <a:gd name="connsiteY0" fmla="*/ 587874 h 6858000"/>
              <a:gd name="connsiteX1" fmla="*/ 722372 w 12192000"/>
              <a:gd name="connsiteY1" fmla="*/ 6270127 h 6858000"/>
              <a:gd name="connsiteX2" fmla="*/ 11469630 w 12192000"/>
              <a:gd name="connsiteY2" fmla="*/ 6270127 h 6858000"/>
              <a:gd name="connsiteX3" fmla="*/ 11469630 w 12192000"/>
              <a:gd name="connsiteY3" fmla="*/ 58787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22372" y="587874"/>
                </a:moveTo>
                <a:lnTo>
                  <a:pt x="722372" y="6270127"/>
                </a:lnTo>
                <a:lnTo>
                  <a:pt x="11469630" y="6270127"/>
                </a:lnTo>
                <a:lnTo>
                  <a:pt x="11469630" y="58787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918258"/>
            <a:ext cx="10076344" cy="909981"/>
          </a:xfrm>
        </p:spPr>
        <p:txBody>
          <a:bodyPr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864364"/>
            <a:ext cx="10076344" cy="416073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D7F1F52-0156-4677-A465-C3F7ACC0F6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837" y="1047074"/>
            <a:ext cx="1325468" cy="17405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9812F00-68E7-FB4C-BAB8-922C066002A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9" name="Picture 8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B87170C7-3CEC-4615-89BA-4DEDDE88DF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" y="0"/>
            <a:ext cx="12192000" cy="6858000"/>
          </a:xfrm>
          <a:custGeom>
            <a:avLst/>
            <a:gdLst>
              <a:gd name="connsiteX0" fmla="*/ 722372 w 12192000"/>
              <a:gd name="connsiteY0" fmla="*/ 587874 h 6858000"/>
              <a:gd name="connsiteX1" fmla="*/ 722372 w 12192000"/>
              <a:gd name="connsiteY1" fmla="*/ 6270127 h 6858000"/>
              <a:gd name="connsiteX2" fmla="*/ 11469630 w 12192000"/>
              <a:gd name="connsiteY2" fmla="*/ 6270127 h 6858000"/>
              <a:gd name="connsiteX3" fmla="*/ 11469630 w 12192000"/>
              <a:gd name="connsiteY3" fmla="*/ 58787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22372" y="587874"/>
                </a:moveTo>
                <a:lnTo>
                  <a:pt x="722372" y="6270127"/>
                </a:lnTo>
                <a:lnTo>
                  <a:pt x="11469630" y="6270127"/>
                </a:lnTo>
                <a:lnTo>
                  <a:pt x="11469630" y="58787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B82E6B10-E05A-460F-8E1B-CCB43FE7F2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837" y="1047074"/>
            <a:ext cx="1325468" cy="17405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C56908B-49BB-444D-91DD-1246E9803B9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7" name="Picture 16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C8175C89-B71B-4DB0-89C3-6016FB7DD9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" y="0"/>
            <a:ext cx="12192000" cy="6858000"/>
          </a:xfrm>
          <a:custGeom>
            <a:avLst/>
            <a:gdLst>
              <a:gd name="connsiteX0" fmla="*/ 722372 w 12192000"/>
              <a:gd name="connsiteY0" fmla="*/ 587874 h 6858000"/>
              <a:gd name="connsiteX1" fmla="*/ 722372 w 12192000"/>
              <a:gd name="connsiteY1" fmla="*/ 6270127 h 6858000"/>
              <a:gd name="connsiteX2" fmla="*/ 11469630 w 12192000"/>
              <a:gd name="connsiteY2" fmla="*/ 6270127 h 6858000"/>
              <a:gd name="connsiteX3" fmla="*/ 11469630 w 12192000"/>
              <a:gd name="connsiteY3" fmla="*/ 58787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22372" y="587874"/>
                </a:moveTo>
                <a:lnTo>
                  <a:pt x="722372" y="6270127"/>
                </a:lnTo>
                <a:lnTo>
                  <a:pt x="11469630" y="6270127"/>
                </a:lnTo>
                <a:lnTo>
                  <a:pt x="11469630" y="58787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BCA037E5-1ACA-490A-9A53-95041B73854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837" y="1047074"/>
            <a:ext cx="1325468" cy="17405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E37CDFD-E831-46A2-AC0D-7736E577D23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696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ight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music, black&#10;&#10;Description automatically generated">
            <a:extLst>
              <a:ext uri="{FF2B5EF4-FFF2-40B4-BE49-F238E27FC236}">
                <a16:creationId xmlns:a16="http://schemas.microsoft.com/office/drawing/2014/main" id="{BA53F7B4-0E42-43CF-86D3-DC5544F6B3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005" b="27845"/>
          <a:stretch/>
        </p:blipFill>
        <p:spPr>
          <a:xfrm>
            <a:off x="-1" y="5667595"/>
            <a:ext cx="3807059" cy="1190407"/>
          </a:xfrm>
          <a:prstGeom prst="rect">
            <a:avLst/>
          </a:prstGeom>
        </p:spPr>
      </p:pic>
      <p:pic>
        <p:nvPicPr>
          <p:cNvPr id="12" name="Picture 11" descr="A picture containing music, black&#10;&#10;Description automatically generated">
            <a:extLst>
              <a:ext uri="{FF2B5EF4-FFF2-40B4-BE49-F238E27FC236}">
                <a16:creationId xmlns:a16="http://schemas.microsoft.com/office/drawing/2014/main" id="{5F7F53D4-47BD-9145-A247-BCC9EDCB798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005" b="27845"/>
          <a:stretch/>
        </p:blipFill>
        <p:spPr>
          <a:xfrm>
            <a:off x="-1" y="5667595"/>
            <a:ext cx="3807059" cy="1190407"/>
          </a:xfrm>
          <a:prstGeom prst="rect">
            <a:avLst/>
          </a:prstGeom>
        </p:spPr>
      </p:pic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918258"/>
            <a:ext cx="10076344" cy="909981"/>
          </a:xfrm>
        </p:spPr>
        <p:txBody>
          <a:bodyPr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864364"/>
            <a:ext cx="10076344" cy="416073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89BCCA0-A14B-432B-A2E5-0712EA3C25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837" y="1047074"/>
            <a:ext cx="1325468" cy="17405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93B422F-E1CC-EB46-8B25-99EF5F38533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42045B1A-1BDB-4122-BE88-4595678DF3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837" y="1047074"/>
            <a:ext cx="1325468" cy="17405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DF87141-7A99-44B1-A6B8-8B642F24F86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62006648-6345-4D77-9335-2ED363B409E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837" y="1047074"/>
            <a:ext cx="1325468" cy="17405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AD68102-F057-4557-AB31-90EE54FDCE2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425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 and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565663"/>
            <a:ext cx="5854818" cy="31692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86EFD9-8225-47A7-9DFF-A350F67E94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064470" y="2302901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On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9AFAB69-F72F-B44B-BB67-D4480049D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6"/>
            <a:ext cx="10110436" cy="844095"/>
          </a:xfrm>
        </p:spPr>
        <p:txBody>
          <a:bodyPr vert="horz" lIns="0" tIns="45720" rIns="0" bIns="45720" rtlCol="0" anchor="b">
            <a:norm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Headlin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5B432C7-6194-C04D-8607-A1DFBA3219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61153" y="2302995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6493D53-065B-674D-B762-76404273F0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61153" y="2822169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D2FB6D0-D95C-6242-A795-CCD93D8A2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61153" y="3341343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25DA43B-4E3A-394F-B8B3-16A0A25D88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61153" y="3860517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0EC907BF-0F79-AE40-A0E1-10EDEEBBAE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61153" y="4379689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FFD898F-103C-F14D-85A5-5DFDF32D1E06}"/>
              </a:ext>
            </a:extLst>
          </p:cNvPr>
          <p:cNvSpPr/>
          <p:nvPr userDrawn="1"/>
        </p:nvSpPr>
        <p:spPr>
          <a:xfrm>
            <a:off x="761288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3E966DA-E5B9-074E-B0AA-F5451AF51BAE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064470" y="2822098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wo</a:t>
            </a:r>
          </a:p>
          <a:p>
            <a:pPr lvl="0"/>
            <a:endParaRPr lang="en-US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5FDD008-E0E6-4746-AB5B-78D012E92B2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064470" y="3341295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5DE72B7-8353-7C47-A8C2-69DED713D17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2064470" y="3860492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Four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D1BD307-5E4B-9647-A402-54CF30BEC3C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2064470" y="4379689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Fiv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7138000-7156-634F-A6D0-6F769025238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EAAAFB-2FCD-498D-B547-AC9CE371CCC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F62BB0-137B-434F-A197-25B5626B034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601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ight Remote speak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4E879062-D42A-C24B-9506-CFFED71D402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447"/>
          <a:stretch/>
        </p:blipFill>
        <p:spPr>
          <a:xfrm>
            <a:off x="0" y="254000"/>
            <a:ext cx="5133848" cy="6626102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BD2CF4-1E90-A941-8678-001223FD41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54000"/>
            <a:ext cx="5133848" cy="66261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48B0DA0-F967-2742-83CF-A94F1A88E5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59226" y="1729568"/>
            <a:ext cx="6184238" cy="482019"/>
          </a:xfrm>
        </p:spPr>
        <p:txBody>
          <a:bodyPr lIns="0" anchor="b">
            <a:noAutofit/>
          </a:bodyPr>
          <a:lstStyle>
            <a:lvl1pPr marL="0" indent="0"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085E64C9-9C43-0840-BE43-4074F7178F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59227" y="2852532"/>
            <a:ext cx="6184237" cy="2587963"/>
          </a:xfrm>
        </p:spPr>
        <p:txBody>
          <a:bodyPr l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buNone/>
              <a:defRPr sz="20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228600">
              <a:spcBef>
                <a:spcPts val="0"/>
              </a:spcBef>
              <a:buClr>
                <a:schemeClr val="bg1"/>
              </a:buClr>
              <a:defRPr/>
            </a:lvl2pPr>
          </a:lstStyle>
          <a:p>
            <a:pPr lvl="0"/>
            <a:r>
              <a:rPr lang="en-US" dirty="0"/>
              <a:t>Add text her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55F6A82-2EA7-8C4D-A6E5-04849642E6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683AB1BC-2635-8847-B41C-2FADD8B3257E}"/>
              </a:ext>
            </a:extLst>
          </p:cNvPr>
          <p:cNvSpPr/>
          <p:nvPr/>
        </p:nvSpPr>
        <p:spPr>
          <a:xfrm>
            <a:off x="5659227" y="245204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1097D0F-D72A-B449-8042-3880B41649D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1" name="Picture 10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A0CFA894-036D-4AD5-AD14-8992144F3BF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447"/>
          <a:stretch/>
        </p:blipFill>
        <p:spPr>
          <a:xfrm>
            <a:off x="0" y="254000"/>
            <a:ext cx="5133848" cy="662610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352431A-0052-489D-BC98-23E236EEC3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672C7276-D4AA-4DFC-A748-91329DBD9C2A}"/>
              </a:ext>
            </a:extLst>
          </p:cNvPr>
          <p:cNvSpPr/>
          <p:nvPr/>
        </p:nvSpPr>
        <p:spPr>
          <a:xfrm>
            <a:off x="5659227" y="245204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7DEB763-C33A-4B73-B49B-74152943AC6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21" name="Picture 20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39BB8DE3-89FD-431F-B3FA-AA97E1B5C5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447"/>
          <a:stretch/>
        </p:blipFill>
        <p:spPr>
          <a:xfrm>
            <a:off x="0" y="254000"/>
            <a:ext cx="5133848" cy="662610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3AB9B4A6-2D55-45E3-8836-6CD3E2FED1C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1B1AB706-BB43-4212-9F70-FD76B9FE9038}"/>
              </a:ext>
            </a:extLst>
          </p:cNvPr>
          <p:cNvSpPr/>
          <p:nvPr userDrawn="1"/>
        </p:nvSpPr>
        <p:spPr>
          <a:xfrm>
            <a:off x="5659227" y="245204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631CE353-3609-4136-A331-F6DAC1EF9FA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44F81FF3-A155-4A09-907E-1CC792FBC8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59226" y="6406516"/>
            <a:ext cx="384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fld id="{345D60D9-5372-5F40-9443-0F9AE5BDC3C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201305B9-9214-42EE-8E38-0A886B3AFE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43274" y="6406517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onfidential – © 2019 Oracle and Santander Highly Restricted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7166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ight Title and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7184" y="565663"/>
            <a:ext cx="5854818" cy="31692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86EFD9-8225-47A7-9DFF-A350F67E94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064470" y="2302901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On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9AFAB69-F72F-B44B-BB67-D4480049D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8"/>
            <a:ext cx="10110436" cy="844095"/>
          </a:xfrm>
        </p:spPr>
        <p:txBody>
          <a:bodyPr vert="horz" lIns="0" tIns="45720" rIns="0" bIns="45720" rtlCol="0" anchor="b">
            <a:norm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Headlin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5B432C7-6194-C04D-8607-A1DFBA3219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61153" y="2302995"/>
            <a:ext cx="439953" cy="395562"/>
          </a:xfrm>
        </p:spPr>
        <p:txBody>
          <a:bodyPr lIns="0" rIns="0">
            <a:noAutofit/>
          </a:bodyPr>
          <a:lstStyle>
            <a:lvl1pPr marL="0" indent="0" algn="ctr">
              <a:buNone/>
              <a:defRPr sz="2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6493D53-065B-674D-B762-76404273F0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61153" y="2822169"/>
            <a:ext cx="439953" cy="395562"/>
          </a:xfrm>
        </p:spPr>
        <p:txBody>
          <a:bodyPr lIns="0" rIns="0">
            <a:noAutofit/>
          </a:bodyPr>
          <a:lstStyle>
            <a:lvl1pPr marL="0" indent="0" algn="ctr">
              <a:buNone/>
              <a:defRPr sz="2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D2FB6D0-D95C-6242-A795-CCD93D8A2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61153" y="3341343"/>
            <a:ext cx="439953" cy="395562"/>
          </a:xfrm>
        </p:spPr>
        <p:txBody>
          <a:bodyPr lIns="0" rIns="0">
            <a:noAutofit/>
          </a:bodyPr>
          <a:lstStyle>
            <a:lvl1pPr marL="0" indent="0" algn="ctr">
              <a:buNone/>
              <a:defRPr sz="2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25DA43B-4E3A-394F-B8B3-16A0A25D88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61153" y="3860517"/>
            <a:ext cx="439953" cy="395562"/>
          </a:xfrm>
        </p:spPr>
        <p:txBody>
          <a:bodyPr lIns="0" rIns="0">
            <a:noAutofit/>
          </a:bodyPr>
          <a:lstStyle>
            <a:lvl1pPr marL="0" indent="0" algn="ctr">
              <a:buNone/>
              <a:defRPr sz="2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0EC907BF-0F79-AE40-A0E1-10EDEEBBAE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61153" y="4379689"/>
            <a:ext cx="439953" cy="395562"/>
          </a:xfrm>
        </p:spPr>
        <p:txBody>
          <a:bodyPr lIns="0" rIns="0">
            <a:noAutofit/>
          </a:bodyPr>
          <a:lstStyle>
            <a:lvl1pPr marL="0" indent="0" algn="ctr">
              <a:buNone/>
              <a:defRPr sz="2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FFD898F-103C-F14D-85A5-5DFDF32D1E06}"/>
              </a:ext>
            </a:extLst>
          </p:cNvPr>
          <p:cNvSpPr/>
          <p:nvPr/>
        </p:nvSpPr>
        <p:spPr>
          <a:xfrm>
            <a:off x="761289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3E966DA-E5B9-074E-B0AA-F5451AF51BAE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064470" y="2822098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wo</a:t>
            </a:r>
          </a:p>
          <a:p>
            <a:pPr lvl="0"/>
            <a:endParaRPr lang="en-US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5FDD008-E0E6-4746-AB5B-78D012E92B2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064470" y="3341295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5DE72B7-8353-7C47-A8C2-69DED713D17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2064470" y="3860492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Four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D1BD307-5E4B-9647-A402-54CF30BEC3C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2064470" y="4379689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Fiv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F9FEC8DE-7675-5046-AAD1-93FA5CCACCA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27684209-72A0-4136-8ED7-ED1D86B36CF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7184" y="565663"/>
            <a:ext cx="5854818" cy="316923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BB66D3C1-C36A-4A82-BC36-05F93FEF9F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3996BF1B-19B3-47AD-BA73-E61A1867B987}"/>
              </a:ext>
            </a:extLst>
          </p:cNvPr>
          <p:cNvSpPr/>
          <p:nvPr/>
        </p:nvSpPr>
        <p:spPr>
          <a:xfrm>
            <a:off x="761289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9726D9B3-EF8E-4DC8-AF43-9556746F452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6451425E-1640-46C3-B256-A113C8443F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7184" y="565663"/>
            <a:ext cx="5854818" cy="316923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A4ABA5BE-F284-4FE4-8F89-BD8BA999C42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40044953-2C3B-43F4-948F-2393BF177816}"/>
              </a:ext>
            </a:extLst>
          </p:cNvPr>
          <p:cNvSpPr/>
          <p:nvPr userDrawn="1"/>
        </p:nvSpPr>
        <p:spPr>
          <a:xfrm>
            <a:off x="761289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BC30B558-3695-455B-9590-92E1974DD2C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FEC039-3B9C-4C94-9FEA-0DB5785B84E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– © 2019 Oracle and Santander Highly Restricted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3086E4-B891-40AA-85C6-4A57ECFB0E0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31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ight Quo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8F2F3CD0-AF3F-4247-A5A5-C512707F12A5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blipFill dpi="0" rotWithShape="1">
            <a:blip r:embed="rId2" cstate="email">
              <a:alphaModFix amt="18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92BE6D0-0FF7-4E98-A703-CF3F097A674F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blipFill dpi="0" rotWithShape="1">
            <a:blip r:embed="rId2" cstate="email">
              <a:alphaModFix amt="18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6250C7C-7F0B-2B44-AAA6-883F6AB7E0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554B90B0-B853-6F47-ACDA-C26DB60F0F3D}"/>
              </a:ext>
            </a:extLst>
          </p:cNvPr>
          <p:cNvSpPr txBox="1">
            <a:spLocks/>
          </p:cNvSpPr>
          <p:nvPr/>
        </p:nvSpPr>
        <p:spPr>
          <a:xfrm>
            <a:off x="875356" y="5535008"/>
            <a:ext cx="9983144" cy="7207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914400" rtl="0" eaLnBrk="1" latinLnBrk="0" hangingPunct="1">
              <a:lnSpc>
                <a:spcPts val="1800"/>
              </a:lnSpc>
              <a:spcBef>
                <a:spcPts val="0"/>
              </a:spcBef>
              <a:buNone/>
              <a:defRPr lang="en-US" sz="1400" b="1" i="0" kern="1200">
                <a:solidFill>
                  <a:schemeClr val="bg1"/>
                </a:solidFill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endParaRPr lang="en-US" sz="1400" b="0" i="0" dirty="0"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90252080-E2D5-6447-93EB-F3E1BDF7CD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096" y="2346183"/>
            <a:ext cx="9983786" cy="2242890"/>
          </a:xfrm>
        </p:spPr>
        <p:txBody>
          <a:bodyPr lIns="0">
            <a:noAutofit/>
          </a:bodyPr>
          <a:lstStyle>
            <a:lvl1pPr marL="0" indent="0" algn="l" fontAlgn="t">
              <a:lnSpc>
                <a:spcPct val="100000"/>
              </a:lnSpc>
              <a:spcBef>
                <a:spcPts val="0"/>
              </a:spcBef>
              <a:buNone/>
              <a:defRPr sz="3200" b="0" i="0">
                <a:latin typeface="Georgia" panose="02040502050405020303" pitchFamily="18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“Click to type customer or partner quote surrounded by quotation marks.”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C9068F71-E098-E049-81D3-5491AAF8DE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8096" y="5239646"/>
            <a:ext cx="9983786" cy="249346"/>
          </a:xfrm>
        </p:spPr>
        <p:txBody>
          <a:bodyPr lIns="0">
            <a:noAutofit/>
          </a:bodyPr>
          <a:lstStyle>
            <a:lvl1pPr marL="0" indent="0" algn="l" fontAlgn="t">
              <a:lnSpc>
                <a:spcPct val="100000"/>
              </a:lnSpc>
              <a:spcBef>
                <a:spcPts val="0"/>
              </a:spcBef>
              <a:buNone/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33" name="Text Placeholder 26">
            <a:extLst>
              <a:ext uri="{FF2B5EF4-FFF2-40B4-BE49-F238E27FC236}">
                <a16:creationId xmlns:a16="http://schemas.microsoft.com/office/drawing/2014/main" id="{87089DAA-9281-6045-B621-B0A8295117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68096" y="5564671"/>
            <a:ext cx="9983786" cy="528567"/>
          </a:xfrm>
        </p:spPr>
        <p:txBody>
          <a:bodyPr lIns="0">
            <a:noAutofit/>
          </a:bodyPr>
          <a:lstStyle>
            <a:lvl1pPr marL="0" indent="0" algn="l" fontAlgn="t">
              <a:lnSpc>
                <a:spcPct val="100000"/>
              </a:lnSpc>
              <a:spcBef>
                <a:spcPts val="0"/>
              </a:spcBef>
              <a:buNone/>
              <a:defRPr sz="13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Picture Placeholder 19">
            <a:extLst>
              <a:ext uri="{FF2B5EF4-FFF2-40B4-BE49-F238E27FC236}">
                <a16:creationId xmlns:a16="http://schemas.microsoft.com/office/drawing/2014/main" id="{806BB0D3-072D-8D47-8C70-E1851CE928B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8096" y="955258"/>
            <a:ext cx="2589212" cy="11069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565B80A-580D-054A-A47B-A7433DB02574}"/>
              </a:ext>
            </a:extLst>
          </p:cNvPr>
          <p:cNvSpPr/>
          <p:nvPr/>
        </p:nvSpPr>
        <p:spPr>
          <a:xfrm>
            <a:off x="768098" y="4829530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8580B64-7E36-4A43-99BC-D0E133B57EB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713BE94-14BF-44FC-8FAA-42402FF9E44A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blipFill dpi="0" rotWithShape="1">
            <a:blip r:embed="rId2" cstate="email">
              <a:alphaModFix amt="18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B9D5FDE-CE98-4CCD-ADB7-75D02DFE8F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C612FA97-F783-4FC7-ADF8-B27B19DFF193}"/>
              </a:ext>
            </a:extLst>
          </p:cNvPr>
          <p:cNvSpPr txBox="1">
            <a:spLocks/>
          </p:cNvSpPr>
          <p:nvPr/>
        </p:nvSpPr>
        <p:spPr>
          <a:xfrm>
            <a:off x="875356" y="5535008"/>
            <a:ext cx="9983144" cy="7207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914400" rtl="0" eaLnBrk="1" latinLnBrk="0" hangingPunct="1">
              <a:lnSpc>
                <a:spcPts val="1800"/>
              </a:lnSpc>
              <a:spcBef>
                <a:spcPts val="0"/>
              </a:spcBef>
              <a:buNone/>
              <a:defRPr lang="en-US" sz="1400" b="1" i="0" kern="1200">
                <a:solidFill>
                  <a:schemeClr val="bg1"/>
                </a:solidFill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endParaRPr lang="en-US" sz="1400" b="0" i="0" dirty="0"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3DD1C2A-E9F3-480C-B0DE-8590BE4A901F}"/>
              </a:ext>
            </a:extLst>
          </p:cNvPr>
          <p:cNvSpPr/>
          <p:nvPr/>
        </p:nvSpPr>
        <p:spPr>
          <a:xfrm>
            <a:off x="768098" y="4829530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76B1336-77D7-43EF-AE54-D904F19F392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4ABCB6D-310E-4043-A604-CF0FF07EC87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14AA3661-13A2-48FF-B405-A275C760FC6D}"/>
              </a:ext>
            </a:extLst>
          </p:cNvPr>
          <p:cNvSpPr txBox="1">
            <a:spLocks/>
          </p:cNvSpPr>
          <p:nvPr userDrawn="1"/>
        </p:nvSpPr>
        <p:spPr>
          <a:xfrm>
            <a:off x="875356" y="5535008"/>
            <a:ext cx="9983144" cy="7207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914400" rtl="0" eaLnBrk="1" latinLnBrk="0" hangingPunct="1">
              <a:lnSpc>
                <a:spcPts val="1800"/>
              </a:lnSpc>
              <a:spcBef>
                <a:spcPts val="0"/>
              </a:spcBef>
              <a:buNone/>
              <a:defRPr lang="en-US" sz="1400" b="1" i="0" kern="1200">
                <a:solidFill>
                  <a:schemeClr val="bg1"/>
                </a:solidFill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endParaRPr lang="en-US" sz="1400" b="0" i="0" dirty="0"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C807355-3C8B-4EEC-8521-A8E8E2FA3008}"/>
              </a:ext>
            </a:extLst>
          </p:cNvPr>
          <p:cNvSpPr/>
          <p:nvPr userDrawn="1"/>
        </p:nvSpPr>
        <p:spPr>
          <a:xfrm>
            <a:off x="768098" y="4829530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DF902C6-B9B0-4B4F-A1A3-B6E6957F1A0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656BA0F-94D4-48D8-BCA5-2E1E9BE5813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– © 2019 Oracle and Santander Highly Restricted 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B97A493-87A9-49AC-9B5C-8F6EEF47F6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762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ight Quot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4E879062-D42A-C24B-9506-CFFED71D402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447"/>
          <a:stretch/>
        </p:blipFill>
        <p:spPr>
          <a:xfrm>
            <a:off x="0" y="254000"/>
            <a:ext cx="5133848" cy="6626102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BD2CF4-1E90-A941-8678-001223FD41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54000"/>
            <a:ext cx="5133848" cy="6626102"/>
          </a:xfrm>
        </p:spPr>
        <p:txBody>
          <a:bodyPr vert="horz" lIns="91440" tIns="45720" rIns="91440" bIns="45720" rtlCol="0" anchor="ctr"/>
          <a:lstStyle>
            <a:lvl1pPr>
              <a:defRPr lang="en-US" sz="1000" dirty="0">
                <a:solidFill>
                  <a:srgbClr val="8B8078"/>
                </a:solidFill>
                <a:latin typeface="+mn-lt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55F6A82-2EA7-8C4D-A6E5-04849642E6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660ACC2F-3202-B843-8CCE-6D68B1FAAF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59227" y="4661231"/>
            <a:ext cx="6037073" cy="218094"/>
          </a:xfrm>
        </p:spPr>
        <p:txBody>
          <a:bodyPr lIns="0">
            <a:noAutofit/>
          </a:bodyPr>
          <a:lstStyle>
            <a:lvl1pPr marL="0" indent="0" algn="l" fontAlgn="t">
              <a:lnSpc>
                <a:spcPct val="100000"/>
              </a:lnSpc>
              <a:spcBef>
                <a:spcPts val="0"/>
              </a:spcBef>
              <a:buNone/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63B99ECC-6BAB-0F46-88DB-26AE80C343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659227" y="4952094"/>
            <a:ext cx="6037073" cy="528567"/>
          </a:xfrm>
        </p:spPr>
        <p:txBody>
          <a:bodyPr lIns="0">
            <a:noAutofit/>
          </a:bodyPr>
          <a:lstStyle>
            <a:lvl1pPr marL="0" indent="0" algn="l" fontAlgn="t">
              <a:lnSpc>
                <a:spcPct val="100000"/>
              </a:lnSpc>
              <a:spcBef>
                <a:spcPts val="0"/>
              </a:spcBef>
              <a:buNone/>
              <a:defRPr sz="13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26">
            <a:extLst>
              <a:ext uri="{FF2B5EF4-FFF2-40B4-BE49-F238E27FC236}">
                <a16:creationId xmlns:a16="http://schemas.microsoft.com/office/drawing/2014/main" id="{38A1ED2B-730F-DB4F-8E69-07241B0A49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59226" y="1850642"/>
            <a:ext cx="6037074" cy="2251537"/>
          </a:xfrm>
        </p:spPr>
        <p:txBody>
          <a:bodyPr lIns="0">
            <a:noAutofit/>
          </a:bodyPr>
          <a:lstStyle>
            <a:lvl1pPr marL="0" indent="0" algn="l" fontAlgn="t">
              <a:lnSpc>
                <a:spcPct val="100000"/>
              </a:lnSpc>
              <a:spcBef>
                <a:spcPts val="0"/>
              </a:spcBef>
              <a:buNone/>
              <a:defRPr sz="3200" b="0" i="0">
                <a:latin typeface="+mj-lt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“Click to type customer or partner quote surrounded by quotation marks.”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44BA13B-C4E1-6147-9655-829168E5E266}"/>
              </a:ext>
            </a:extLst>
          </p:cNvPr>
          <p:cNvSpPr/>
          <p:nvPr/>
        </p:nvSpPr>
        <p:spPr>
          <a:xfrm>
            <a:off x="5659227" y="434263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8387CF3-5794-A14B-9723-160850AB5E6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2" name="Picture 11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74A0B09A-7616-4C8A-818A-4D6E22CBADD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447"/>
          <a:stretch/>
        </p:blipFill>
        <p:spPr>
          <a:xfrm>
            <a:off x="0" y="254000"/>
            <a:ext cx="5133848" cy="662610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89B72C1-25BA-46B9-8A08-10FC83D072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0C14462-A19D-46E0-8B67-E91C4784CB8B}"/>
              </a:ext>
            </a:extLst>
          </p:cNvPr>
          <p:cNvSpPr/>
          <p:nvPr/>
        </p:nvSpPr>
        <p:spPr>
          <a:xfrm>
            <a:off x="5659227" y="434263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C90CFCF-7E93-4B20-B364-DDC2F08085E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20" name="Picture 19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B53CE2F1-A399-4538-A828-B5D7536589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447"/>
          <a:stretch/>
        </p:blipFill>
        <p:spPr>
          <a:xfrm>
            <a:off x="0" y="254000"/>
            <a:ext cx="5133848" cy="662610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F63A648-FC6F-4EBA-890B-6AB71408B1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11FEB8EA-4843-4BC8-BC05-C62F74FBB04A}"/>
              </a:ext>
            </a:extLst>
          </p:cNvPr>
          <p:cNvSpPr/>
          <p:nvPr userDrawn="1"/>
        </p:nvSpPr>
        <p:spPr>
          <a:xfrm>
            <a:off x="5659227" y="434263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8F21A022-262A-4666-A521-FE2221A28A4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2C585C3-A4C8-43F8-8866-ED654D5BB84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043274" y="6406517"/>
            <a:ext cx="4114800" cy="365125"/>
          </a:xfrm>
        </p:spPr>
        <p:txBody>
          <a:bodyPr/>
          <a:lstStyle/>
          <a:p>
            <a:r>
              <a:rPr lang="en-US"/>
              <a:t>Confidential – © 2019 Oracle and Santander Highly Restricted 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92DBA9-EDE9-4EB6-B3FD-8A2C58DC4D0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659226" y="6406516"/>
            <a:ext cx="384048" cy="365125"/>
          </a:xfrm>
        </p:spPr>
        <p:txBody>
          <a:bodyPr/>
          <a:lstStyle/>
          <a:p>
            <a:fld id="{345D60D9-5372-5F40-9443-0F9AE5BDC3C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571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ight Quote with pictur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E7EFAFBA-C533-AF47-8C5A-87A1579768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528"/>
            <a:ext cx="12192000" cy="6858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A203EF7-0022-9042-AE87-EABCBB9B126E}"/>
              </a:ext>
            </a:extLst>
          </p:cNvPr>
          <p:cNvSpPr/>
          <p:nvPr/>
        </p:nvSpPr>
        <p:spPr>
          <a:xfrm>
            <a:off x="722372" y="587876"/>
            <a:ext cx="10747258" cy="568225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26">
            <a:extLst>
              <a:ext uri="{FF2B5EF4-FFF2-40B4-BE49-F238E27FC236}">
                <a16:creationId xmlns:a16="http://schemas.microsoft.com/office/drawing/2014/main" id="{F65EEC53-4965-C84F-B964-03CF9283D5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0215" y="1101969"/>
            <a:ext cx="9165494" cy="2975336"/>
          </a:xfrm>
        </p:spPr>
        <p:txBody>
          <a:bodyPr lIns="0" anchor="b">
            <a:noAutofit/>
          </a:bodyPr>
          <a:lstStyle>
            <a:lvl1pPr marL="0" indent="0" algn="l" fontAlgn="t">
              <a:lnSpc>
                <a:spcPct val="100000"/>
              </a:lnSpc>
              <a:spcBef>
                <a:spcPts val="0"/>
              </a:spcBef>
              <a:buNone/>
              <a:defRPr sz="3200" b="0" i="0">
                <a:latin typeface="Georgia" panose="02040502050405020303" pitchFamily="18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“Click to type customer or partner quote surrounded by quotation marks.”</a:t>
            </a:r>
          </a:p>
        </p:txBody>
      </p:sp>
      <p:sp>
        <p:nvSpPr>
          <p:cNvPr id="31" name="Text Placeholder 26">
            <a:extLst>
              <a:ext uri="{FF2B5EF4-FFF2-40B4-BE49-F238E27FC236}">
                <a16:creationId xmlns:a16="http://schemas.microsoft.com/office/drawing/2014/main" id="{1AD57123-EDE4-954E-9A92-A3083B1C27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30215" y="4637490"/>
            <a:ext cx="9165494" cy="249346"/>
          </a:xfrm>
        </p:spPr>
        <p:txBody>
          <a:bodyPr lIns="0">
            <a:noAutofit/>
          </a:bodyPr>
          <a:lstStyle>
            <a:lvl1pPr marL="0" indent="0" algn="l" fontAlgn="t">
              <a:lnSpc>
                <a:spcPct val="100000"/>
              </a:lnSpc>
              <a:spcBef>
                <a:spcPts val="0"/>
              </a:spcBef>
              <a:buNone/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9C7075CA-1EBB-F043-A768-C5814E1A584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30215" y="4962515"/>
            <a:ext cx="9165494" cy="528567"/>
          </a:xfrm>
        </p:spPr>
        <p:txBody>
          <a:bodyPr lIns="0">
            <a:noAutofit/>
          </a:bodyPr>
          <a:lstStyle>
            <a:lvl1pPr marL="0" indent="0" algn="l" fontAlgn="t">
              <a:lnSpc>
                <a:spcPct val="100000"/>
              </a:lnSpc>
              <a:spcBef>
                <a:spcPts val="0"/>
              </a:spcBef>
              <a:buNone/>
              <a:defRPr sz="13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BC74FEB-50F3-4449-8D38-99E6A564975E}"/>
              </a:ext>
            </a:extLst>
          </p:cNvPr>
          <p:cNvSpPr/>
          <p:nvPr/>
        </p:nvSpPr>
        <p:spPr>
          <a:xfrm>
            <a:off x="1530216" y="430369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21D75C7-330B-C647-BF17-6891438D2F6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E534E03D-DE81-9841-A730-218647C24F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15" y="6356352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 – © 2019 Oracle and Santander Highly Restricted </a:t>
            </a:r>
            <a:endParaRPr lang="en-US" dirty="0"/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C6A1217C-41EC-BE49-9BCB-6E7C20E658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2673" y="6356352"/>
            <a:ext cx="386443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2" name="Picture 11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EA01B961-EF0E-4DCE-84C3-20B1ADDB73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528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DDF7838-232A-4611-9770-622461A49971}"/>
              </a:ext>
            </a:extLst>
          </p:cNvPr>
          <p:cNvSpPr/>
          <p:nvPr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EF5970F-C9AD-4533-AAE0-762D82DFC5CC}"/>
              </a:ext>
            </a:extLst>
          </p:cNvPr>
          <p:cNvSpPr/>
          <p:nvPr/>
        </p:nvSpPr>
        <p:spPr>
          <a:xfrm>
            <a:off x="722372" y="587876"/>
            <a:ext cx="10747258" cy="568225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D4E0CD0-C119-47F8-8A74-EB58C71763B2}"/>
              </a:ext>
            </a:extLst>
          </p:cNvPr>
          <p:cNvSpPr/>
          <p:nvPr/>
        </p:nvSpPr>
        <p:spPr>
          <a:xfrm>
            <a:off x="1530216" y="430369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CE9D039-BCDB-42CB-94B4-039132E1080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22" name="Picture 21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D90BA57F-2752-4628-82DB-E1AB13BAF3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70528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FB47849C-8A99-4435-A044-7D6850F2223D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EFB8DEF-52CD-4EA8-A312-1477D22A449A}"/>
              </a:ext>
            </a:extLst>
          </p:cNvPr>
          <p:cNvSpPr/>
          <p:nvPr userDrawn="1"/>
        </p:nvSpPr>
        <p:spPr>
          <a:xfrm>
            <a:off x="722372" y="587876"/>
            <a:ext cx="10747258" cy="568225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5F4E21C-4B5B-4F72-A88A-ECFBAEFB3304}"/>
              </a:ext>
            </a:extLst>
          </p:cNvPr>
          <p:cNvSpPr/>
          <p:nvPr userDrawn="1"/>
        </p:nvSpPr>
        <p:spPr>
          <a:xfrm>
            <a:off x="1530216" y="430369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C038747-4A1C-4CA0-9D11-26973773955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sp>
        <p:nvSpPr>
          <p:cNvPr id="27" name="Footer Placeholder 2">
            <a:extLst>
              <a:ext uri="{FF2B5EF4-FFF2-40B4-BE49-F238E27FC236}">
                <a16:creationId xmlns:a16="http://schemas.microsoft.com/office/drawing/2014/main" id="{FCA62CF1-B077-4741-856E-C55A421C970B}"/>
              </a:ext>
            </a:extLst>
          </p:cNvPr>
          <p:cNvSpPr txBox="1">
            <a:spLocks/>
          </p:cNvSpPr>
          <p:nvPr userDrawn="1"/>
        </p:nvSpPr>
        <p:spPr>
          <a:xfrm>
            <a:off x="1056720" y="6406517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rgbClr val="8B858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Confidential – © 2019 Oracle Internal/Restricted/Highly Restricted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2DD358DC-3E59-A84F-9E5C-47F9CB277C34}"/>
              </a:ext>
            </a:extLst>
          </p:cNvPr>
          <p:cNvSpPr txBox="1">
            <a:spLocks/>
          </p:cNvSpPr>
          <p:nvPr userDrawn="1"/>
        </p:nvSpPr>
        <p:spPr>
          <a:xfrm>
            <a:off x="672672" y="6406516"/>
            <a:ext cx="384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8B858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45D60D9-5372-5F40-9443-0F9AE5BDC3C8}" type="slidenum">
              <a:rPr lang="en-US" smtClean="0">
                <a:solidFill>
                  <a:schemeClr val="bg1"/>
                </a:solidFill>
              </a:rPr>
              <a:pPr/>
              <a:t>‹Nº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7705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ight Title-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7184" y="4508413"/>
            <a:ext cx="5854818" cy="23419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B599F-269A-4E45-BB4E-31A49D23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7" y="783028"/>
            <a:ext cx="9887834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itle-Only Layou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354AA-8715-3B44-8031-FEACECD4374F}"/>
              </a:ext>
            </a:extLst>
          </p:cNvPr>
          <p:cNvSpPr/>
          <p:nvPr/>
        </p:nvSpPr>
        <p:spPr>
          <a:xfrm>
            <a:off x="768097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AF6838C-0132-4B4F-B596-BBA0E909747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D7A86C6-1957-4EDC-8232-D0B63793B40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7184" y="4508413"/>
            <a:ext cx="5854818" cy="234192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4FB9C84-7042-408D-B8C9-6045E87871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C133B660-331A-4566-864F-6961140FAF8C}"/>
              </a:ext>
            </a:extLst>
          </p:cNvPr>
          <p:cNvSpPr/>
          <p:nvPr/>
        </p:nvSpPr>
        <p:spPr>
          <a:xfrm>
            <a:off x="768097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D6CE0FF-B360-48AD-9C5D-4992C9957AE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B23D939-7A4A-4E8C-A68D-80C3163A09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7184" y="4508413"/>
            <a:ext cx="5854818" cy="234192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39CA8FF-F427-4F37-BDB4-268E90F96B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F2DC0ABD-005B-4742-9469-680F9ADA1A13}"/>
              </a:ext>
            </a:extLst>
          </p:cNvPr>
          <p:cNvSpPr/>
          <p:nvPr userDrawn="1"/>
        </p:nvSpPr>
        <p:spPr>
          <a:xfrm>
            <a:off x="768097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B1AABB6-F595-4ABA-B49B-C7C915C6563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E19CED-990D-4ADA-B1DC-1BA3F5C764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– © 2019 Oracle and Santander Highly Restricted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29D599-D8C6-42EF-BCF3-E9FD2E06FE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20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ight Title-only - no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B599F-269A-4E45-BB4E-31A49D23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7" y="783028"/>
            <a:ext cx="9887834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itle-Only Layou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354AA-8715-3B44-8031-FEACECD4374F}"/>
              </a:ext>
            </a:extLst>
          </p:cNvPr>
          <p:cNvSpPr/>
          <p:nvPr/>
        </p:nvSpPr>
        <p:spPr>
          <a:xfrm>
            <a:off x="768097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977562E-B363-E443-AC6C-CFF7E8D6094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629E58A-33BD-4C33-9A32-81D8CA69E0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886D5F45-902E-4ECA-B93B-4C5BDC2097B4}"/>
              </a:ext>
            </a:extLst>
          </p:cNvPr>
          <p:cNvSpPr/>
          <p:nvPr/>
        </p:nvSpPr>
        <p:spPr>
          <a:xfrm>
            <a:off x="768097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DBF994D-CBDE-4A7F-AA4F-98F32B57822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F3C542E-6FF5-46F7-AD87-A1F0EF6B1B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90E65F50-4799-4A20-9425-497177C48094}"/>
              </a:ext>
            </a:extLst>
          </p:cNvPr>
          <p:cNvSpPr/>
          <p:nvPr userDrawn="1"/>
        </p:nvSpPr>
        <p:spPr>
          <a:xfrm>
            <a:off x="768097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96A6CAD-F0D9-4206-83BE-CD143FCB3E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BF3BD9-D5E2-4A64-94F3-FDCFFF94EB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– © 2019 Oracle and Santander Highly Restricted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CD0C1C-710B-4D73-AEF6-AF8C74746F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7562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63BFE93-723E-344A-880F-CE10CA62F9A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EE53C9B-9A48-4513-994A-746DA31C53F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0DFF9DD-6755-493A-AAE0-681C1A8AF5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8CA2837-C615-4974-8640-06A25BC523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– © 2019 Oracle and Santander Highly Restricted 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3BFE34-8F0F-4A04-B34D-8EDE998E96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513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Light Title and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7184" y="4508413"/>
            <a:ext cx="5854818" cy="23419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B599F-269A-4E45-BB4E-31A49D23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7" y="783028"/>
            <a:ext cx="9887834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itle and Subtitle Layo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86EFD9-8225-47A7-9DFF-A350F67E94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68095" y="2288559"/>
            <a:ext cx="9887835" cy="336037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kern="0" spc="0" baseline="0">
                <a:solidFill>
                  <a:srgbClr val="4A362B"/>
                </a:solidFill>
                <a:latin typeface="Oracle Sans Light" panose="020B0403020204020204" pitchFamily="34" charset="0"/>
                <a:ea typeface="Oracle Sans Light" panose="020B0403020204020204" pitchFamily="34" charset="0"/>
                <a:cs typeface="Oracle Sans Light" panose="020B04030202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Duis vitae </a:t>
            </a:r>
            <a:r>
              <a:rPr lang="en-US" dirty="0" err="1"/>
              <a:t>interdum</a:t>
            </a:r>
            <a:r>
              <a:rPr lang="en-US" dirty="0"/>
              <a:t> diam, non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etus</a:t>
            </a:r>
            <a:r>
              <a:rPr lang="en-US" dirty="0"/>
              <a:t> sed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354AA-8715-3B44-8031-FEACECD4374F}"/>
              </a:ext>
            </a:extLst>
          </p:cNvPr>
          <p:cNvSpPr/>
          <p:nvPr/>
        </p:nvSpPr>
        <p:spPr>
          <a:xfrm>
            <a:off x="768097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5E0D3A5-C7F1-C84B-AA65-F06A90634EF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F88F455-9133-4857-9026-0118D79AC89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7184" y="4508413"/>
            <a:ext cx="5854818" cy="234192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6A1D9E2-2179-4073-AE45-E0AA05045C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D1F9100-F089-4C37-9264-97AA831BA87E}"/>
              </a:ext>
            </a:extLst>
          </p:cNvPr>
          <p:cNvSpPr/>
          <p:nvPr/>
        </p:nvSpPr>
        <p:spPr>
          <a:xfrm>
            <a:off x="768097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4AEB15F-1A2B-41B8-A67C-4AC54239023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B1C36D6-E98B-40A9-8C09-623D0CE899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7184" y="4508413"/>
            <a:ext cx="5854818" cy="234192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D23EE01-FC1A-4CC7-B8DD-FDA415641D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461BBC3C-6C6D-440F-94A2-81157DAD6A4F}"/>
              </a:ext>
            </a:extLst>
          </p:cNvPr>
          <p:cNvSpPr/>
          <p:nvPr userDrawn="1"/>
        </p:nvSpPr>
        <p:spPr>
          <a:xfrm>
            <a:off x="768097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65F493C6-B21F-4860-9E5A-D9CDD806957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617218-CB5F-4F84-BE92-40A6EB8FA7E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– © 2019 Oracle and Santander Highly Restricted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ABBA1C-D5AC-4447-84B2-9C200F00FE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788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 and conten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7184" y="4508413"/>
            <a:ext cx="5854818" cy="23419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B599F-269A-4E45-BB4E-31A49D23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7" y="783028"/>
            <a:ext cx="10318494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354AA-8715-3B44-8031-FEACECD4374F}"/>
              </a:ext>
            </a:extLst>
          </p:cNvPr>
          <p:cNvSpPr/>
          <p:nvPr/>
        </p:nvSpPr>
        <p:spPr>
          <a:xfrm>
            <a:off x="768097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79C4A2B-6D24-4690-8147-06D17BD41EE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351" y="2189535"/>
            <a:ext cx="10317572" cy="4017963"/>
          </a:xfrm>
        </p:spPr>
        <p:txBody>
          <a:bodyPr lIns="0">
            <a:normAutofit/>
          </a:bodyPr>
          <a:lstStyle>
            <a:lvl1pPr marL="227013" indent="-227013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  <a:lvl2pPr marL="0" indent="0">
              <a:lnSpc>
                <a:spcPct val="90000"/>
              </a:lnSpc>
              <a:spcBef>
                <a:spcPts val="1200"/>
              </a:spcBef>
              <a:buNone/>
              <a:defRPr sz="1800"/>
            </a:lvl2pPr>
            <a:lvl3pPr marL="285750" indent="-28575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 b="0">
                <a:solidFill>
                  <a:schemeClr val="tx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3pPr>
            <a:lvl4pPr marL="0" indent="0">
              <a:lnSpc>
                <a:spcPct val="90000"/>
              </a:lnSpc>
              <a:spcBef>
                <a:spcPts val="1200"/>
              </a:spcBef>
              <a:buNone/>
              <a:defRPr sz="1800" b="1">
                <a:solidFill>
                  <a:schemeClr val="accent5"/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4pPr>
            <a:lvl5pPr marL="1658938" indent="-228600">
              <a:lnSpc>
                <a:spcPct val="90000"/>
              </a:lnSpc>
              <a:spcBef>
                <a:spcPts val="1200"/>
              </a:spcBef>
              <a:defRPr sz="1800"/>
            </a:lvl5pPr>
          </a:lstStyle>
          <a:p>
            <a:pPr lvl="0"/>
            <a:r>
              <a:rPr lang="en-US" dirty="0"/>
              <a:t>Bold 18 </a:t>
            </a:r>
            <a:r>
              <a:rPr lang="en-US" dirty="0" err="1"/>
              <a:t>pt</a:t>
            </a:r>
            <a:r>
              <a:rPr lang="en-US" dirty="0"/>
              <a:t> font</a:t>
            </a:r>
          </a:p>
          <a:p>
            <a:pPr lvl="1"/>
            <a:r>
              <a:rPr lang="en-US" dirty="0"/>
              <a:t>First tab Oracle Sans Light</a:t>
            </a:r>
          </a:p>
          <a:p>
            <a:pPr lvl="2"/>
            <a:r>
              <a:rPr lang="en-US" dirty="0"/>
              <a:t>Second tab Oracle Sans Light bullet</a:t>
            </a:r>
          </a:p>
          <a:p>
            <a:pPr lvl="3"/>
            <a:r>
              <a:rPr lang="en-US" dirty="0"/>
              <a:t>Third tab highligh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D9D28AE-03A7-5540-ABA1-3FE9145E99A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D19EBF2-5EC1-40A4-AF1C-41E2D1E6A8C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7184" y="4508413"/>
            <a:ext cx="5854818" cy="234192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43C9020-E05C-4BFD-A360-A99F137D8F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C2C67D5-835B-4C00-A440-B76BB74088DC}"/>
              </a:ext>
            </a:extLst>
          </p:cNvPr>
          <p:cNvSpPr/>
          <p:nvPr/>
        </p:nvSpPr>
        <p:spPr>
          <a:xfrm>
            <a:off x="768097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6F0F0F4-8D35-44B3-8B0B-77044D08B53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D45154B-A9C5-41E4-938E-AFD105F932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7184" y="4508413"/>
            <a:ext cx="5854818" cy="234192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6CCB891-0C09-434F-86C9-482E3802945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8A53189-C107-4D7B-A6FE-566B0A9713C1}"/>
              </a:ext>
            </a:extLst>
          </p:cNvPr>
          <p:cNvSpPr/>
          <p:nvPr userDrawn="1"/>
        </p:nvSpPr>
        <p:spPr>
          <a:xfrm>
            <a:off x="768097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4073E056-A79F-40C2-AF62-B761B68582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26F486-2A5C-41B3-B9CA-0FF4AD305B9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Confidential – © 2019 Oracle and Santander Highly Restricted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EA69CC-DFA6-4903-A044-B17834B208E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70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Quo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92BE6D0-0FF7-4E98-A703-CF3F097A67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1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6250C7C-7F0B-2B44-AAA6-883F6AB7E03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554B90B0-B853-6F47-ACDA-C26DB60F0F3D}"/>
              </a:ext>
            </a:extLst>
          </p:cNvPr>
          <p:cNvSpPr txBox="1">
            <a:spLocks/>
          </p:cNvSpPr>
          <p:nvPr userDrawn="1"/>
        </p:nvSpPr>
        <p:spPr>
          <a:xfrm>
            <a:off x="875356" y="5535006"/>
            <a:ext cx="9983144" cy="7207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914400" rtl="0" eaLnBrk="1" latinLnBrk="0" hangingPunct="1">
              <a:lnSpc>
                <a:spcPts val="1800"/>
              </a:lnSpc>
              <a:spcBef>
                <a:spcPts val="0"/>
              </a:spcBef>
              <a:buNone/>
              <a:defRPr lang="en-US" sz="1400" b="1" i="0" kern="1200">
                <a:solidFill>
                  <a:schemeClr val="bg1"/>
                </a:solidFill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endParaRPr lang="en-US" sz="1400" b="0" i="0" dirty="0"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90252080-E2D5-6447-93EB-F3E1BDF7CD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096" y="2346183"/>
            <a:ext cx="9983786" cy="2242890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32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“Click to type customer or partner quote surrounded by quotation marks.”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C9068F71-E098-E049-81D3-5491AAF8DE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8096" y="5239646"/>
            <a:ext cx="9983786" cy="249346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33" name="Text Placeholder 26">
            <a:extLst>
              <a:ext uri="{FF2B5EF4-FFF2-40B4-BE49-F238E27FC236}">
                <a16:creationId xmlns:a16="http://schemas.microsoft.com/office/drawing/2014/main" id="{87089DAA-9281-6045-B621-B0A8295117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68096" y="5564669"/>
            <a:ext cx="9983786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3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Picture Placeholder 19">
            <a:extLst>
              <a:ext uri="{FF2B5EF4-FFF2-40B4-BE49-F238E27FC236}">
                <a16:creationId xmlns:a16="http://schemas.microsoft.com/office/drawing/2014/main" id="{806BB0D3-072D-8D47-8C70-E1851CE928B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8096" y="955256"/>
            <a:ext cx="2589212" cy="110690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565B80A-580D-054A-A47B-A7433DB02574}"/>
              </a:ext>
            </a:extLst>
          </p:cNvPr>
          <p:cNvSpPr/>
          <p:nvPr userDrawn="1"/>
        </p:nvSpPr>
        <p:spPr>
          <a:xfrm>
            <a:off x="768097" y="4829530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5BF82DE-33C5-3A4E-A2BE-056AD4CD8E3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C95176-6832-4D14-B8AA-9CF49288F5D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pyright © 2019 Oracle and/or its affliate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6E2F52-3B6A-46A0-AAA4-214A1F01ED2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816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ight Title with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260AB3B5-6759-364A-B98F-4622117D774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7184" y="4508413"/>
            <a:ext cx="5854818" cy="2341927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B46B041F-833F-AB4C-9680-F86574375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8"/>
            <a:ext cx="10200219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wo Content Layout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EF88010-6F25-0949-962C-71A71BBDD2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AE5D2D5-96D0-7047-93E6-327A01072B11}"/>
              </a:ext>
            </a:extLst>
          </p:cNvPr>
          <p:cNvSpPr/>
          <p:nvPr/>
        </p:nvSpPr>
        <p:spPr>
          <a:xfrm>
            <a:off x="768097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B3CB7CD-2E8A-45E3-805A-D2C11BF975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350" y="2189535"/>
            <a:ext cx="4991428" cy="4017963"/>
          </a:xfrm>
        </p:spPr>
        <p:txBody>
          <a:bodyPr lIns="0">
            <a:normAutofit/>
          </a:bodyPr>
          <a:lstStyle>
            <a:lvl1pPr marL="227013" indent="-227013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  <a:lvl2pPr marL="0" indent="0">
              <a:lnSpc>
                <a:spcPct val="90000"/>
              </a:lnSpc>
              <a:spcBef>
                <a:spcPts val="1200"/>
              </a:spcBef>
              <a:buNone/>
              <a:defRPr sz="1800"/>
            </a:lvl2pPr>
            <a:lvl3pPr marL="285750" indent="-28575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 b="0">
                <a:solidFill>
                  <a:schemeClr val="tx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3pPr>
            <a:lvl4pPr marL="0" indent="0">
              <a:lnSpc>
                <a:spcPct val="90000"/>
              </a:lnSpc>
              <a:spcBef>
                <a:spcPts val="1200"/>
              </a:spcBef>
              <a:buNone/>
              <a:defRPr sz="1800" b="1">
                <a:solidFill>
                  <a:schemeClr val="accent5"/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4pPr>
            <a:lvl5pPr marL="1658938" indent="-228600">
              <a:lnSpc>
                <a:spcPct val="90000"/>
              </a:lnSpc>
              <a:spcBef>
                <a:spcPts val="1200"/>
              </a:spcBef>
              <a:defRPr sz="1800"/>
            </a:lvl5pPr>
          </a:lstStyle>
          <a:p>
            <a:pPr lvl="0"/>
            <a:r>
              <a:rPr lang="en-US" dirty="0"/>
              <a:t>Left First level Bold 18 </a:t>
            </a:r>
            <a:r>
              <a:rPr lang="en-US" dirty="0" err="1"/>
              <a:t>pt</a:t>
            </a:r>
            <a:r>
              <a:rPr lang="en-US" dirty="0"/>
              <a:t> font</a:t>
            </a:r>
          </a:p>
          <a:p>
            <a:pPr lvl="1"/>
            <a:r>
              <a:rPr lang="en-US" dirty="0"/>
              <a:t>First indent Oracle Sans Light</a:t>
            </a:r>
          </a:p>
          <a:p>
            <a:pPr lvl="2"/>
            <a:r>
              <a:rPr lang="en-US" dirty="0"/>
              <a:t>Second indent Oracle Sans Light bullet</a:t>
            </a:r>
          </a:p>
          <a:p>
            <a:pPr lvl="3"/>
            <a:r>
              <a:rPr lang="en-US" dirty="0"/>
              <a:t>Third indent highligh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11CF60C-54D2-44B9-ADB9-1B78BF3034F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976886" y="2189535"/>
            <a:ext cx="4991428" cy="4017963"/>
          </a:xfrm>
        </p:spPr>
        <p:txBody>
          <a:bodyPr lIns="0">
            <a:normAutofit/>
          </a:bodyPr>
          <a:lstStyle>
            <a:lvl1pPr marL="227013" indent="-227013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  <a:lvl2pPr marL="0" indent="0">
              <a:lnSpc>
                <a:spcPct val="90000"/>
              </a:lnSpc>
              <a:spcBef>
                <a:spcPts val="1200"/>
              </a:spcBef>
              <a:buNone/>
              <a:defRPr sz="1800"/>
            </a:lvl2pPr>
            <a:lvl3pPr marL="285750" indent="-28575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 b="0">
                <a:solidFill>
                  <a:schemeClr val="tx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3pPr>
            <a:lvl4pPr marL="0" indent="0">
              <a:lnSpc>
                <a:spcPct val="90000"/>
              </a:lnSpc>
              <a:spcBef>
                <a:spcPts val="1200"/>
              </a:spcBef>
              <a:buNone/>
              <a:defRPr sz="1800" b="1">
                <a:solidFill>
                  <a:schemeClr val="accent5"/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4pPr>
            <a:lvl5pPr marL="1658938" indent="-228600">
              <a:lnSpc>
                <a:spcPct val="90000"/>
              </a:lnSpc>
              <a:spcBef>
                <a:spcPts val="1200"/>
              </a:spcBef>
              <a:defRPr sz="1800"/>
            </a:lvl5pPr>
          </a:lstStyle>
          <a:p>
            <a:pPr lvl="0"/>
            <a:r>
              <a:rPr lang="en-US" dirty="0"/>
              <a:t>Right first level Bold 18 </a:t>
            </a:r>
            <a:r>
              <a:rPr lang="en-US" dirty="0" err="1"/>
              <a:t>pt</a:t>
            </a:r>
            <a:r>
              <a:rPr lang="en-US" dirty="0"/>
              <a:t> font</a:t>
            </a:r>
          </a:p>
          <a:p>
            <a:pPr lvl="1"/>
            <a:r>
              <a:rPr lang="en-US" dirty="0"/>
              <a:t>First indent Oracle Sans Light</a:t>
            </a:r>
          </a:p>
          <a:p>
            <a:pPr lvl="2"/>
            <a:r>
              <a:rPr lang="en-US" dirty="0"/>
              <a:t>Second indent Oracle Sans Light bullet</a:t>
            </a:r>
          </a:p>
          <a:p>
            <a:pPr lvl="3"/>
            <a:r>
              <a:rPr lang="en-US" dirty="0"/>
              <a:t>Third indent highligh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8440484-99FE-AE46-8D8D-1207C972229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B866154-D692-4EC4-8578-E541AFB1199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7184" y="4508413"/>
            <a:ext cx="5854818" cy="234192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A7D403D-D634-46EB-A571-DE55D4E9FF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5D61B08-3498-4EF7-967D-CA85B6119AEA}"/>
              </a:ext>
            </a:extLst>
          </p:cNvPr>
          <p:cNvSpPr/>
          <p:nvPr/>
        </p:nvSpPr>
        <p:spPr>
          <a:xfrm>
            <a:off x="768097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5ED711F-02CD-4D27-B7A7-70AD8DBEC79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E900CDC-0B6A-4BF2-B199-B9663E1216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7184" y="4508413"/>
            <a:ext cx="5854818" cy="234192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3AA20393-2FE1-4111-95E6-C1CD1B0EEF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7E05CB6-89DE-4A24-9AD2-DCEA187838E0}"/>
              </a:ext>
            </a:extLst>
          </p:cNvPr>
          <p:cNvSpPr/>
          <p:nvPr userDrawn="1"/>
        </p:nvSpPr>
        <p:spPr>
          <a:xfrm>
            <a:off x="768097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18B88929-8B8B-4F0F-AFD6-2329FBC6D3E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53FB93-BA5F-4C42-9629-028298113EEE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Confidential – © 2019 Oracle and Santander Highly Restricte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788BE2-E2C8-40C6-B217-CC8F98B2464B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3594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12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ight Title with 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260AB3B5-6759-364A-B98F-4622117D774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7184" y="4508413"/>
            <a:ext cx="5854818" cy="2341927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B46B041F-833F-AB4C-9680-F86574375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8"/>
            <a:ext cx="10210297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hree Content Layout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EF88010-6F25-0949-962C-71A71BBDD2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AE5D2D5-96D0-7047-93E6-327A01072B11}"/>
              </a:ext>
            </a:extLst>
          </p:cNvPr>
          <p:cNvSpPr/>
          <p:nvPr/>
        </p:nvSpPr>
        <p:spPr>
          <a:xfrm>
            <a:off x="768097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81F632CB-3D3E-4457-AD88-C2119A9117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350" y="2189535"/>
            <a:ext cx="3270251" cy="4017963"/>
          </a:xfrm>
        </p:spPr>
        <p:txBody>
          <a:bodyPr lIns="0">
            <a:normAutofit/>
          </a:bodyPr>
          <a:lstStyle>
            <a:lvl1pPr marL="227013" indent="-227013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  <a:lvl2pPr marL="0" indent="0">
              <a:lnSpc>
                <a:spcPct val="90000"/>
              </a:lnSpc>
              <a:spcBef>
                <a:spcPts val="1200"/>
              </a:spcBef>
              <a:buNone/>
              <a:defRPr sz="1800"/>
            </a:lvl2pPr>
            <a:lvl3pPr marL="285750" indent="-28575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 b="0">
                <a:solidFill>
                  <a:schemeClr val="tx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3pPr>
            <a:lvl4pPr marL="0" indent="0">
              <a:lnSpc>
                <a:spcPct val="90000"/>
              </a:lnSpc>
              <a:spcBef>
                <a:spcPts val="1200"/>
              </a:spcBef>
              <a:buNone/>
              <a:defRPr sz="1800" b="1">
                <a:solidFill>
                  <a:schemeClr val="accent5"/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4pPr>
            <a:lvl5pPr marL="1658938" indent="-228600">
              <a:lnSpc>
                <a:spcPct val="90000"/>
              </a:lnSpc>
              <a:spcBef>
                <a:spcPts val="1200"/>
              </a:spcBef>
              <a:defRPr sz="1800"/>
            </a:lvl5pPr>
          </a:lstStyle>
          <a:p>
            <a:pPr lvl="0"/>
            <a:r>
              <a:rPr lang="en-US" dirty="0"/>
              <a:t>Left First level Bold 18 </a:t>
            </a:r>
            <a:r>
              <a:rPr lang="en-US" dirty="0" err="1"/>
              <a:t>pt</a:t>
            </a:r>
            <a:r>
              <a:rPr lang="en-US" dirty="0"/>
              <a:t> font</a:t>
            </a:r>
          </a:p>
          <a:p>
            <a:pPr lvl="1"/>
            <a:r>
              <a:rPr lang="en-US" dirty="0"/>
              <a:t>First indent Oracle Sans Light</a:t>
            </a:r>
          </a:p>
          <a:p>
            <a:pPr lvl="2"/>
            <a:r>
              <a:rPr lang="en-US" dirty="0"/>
              <a:t>Second indent Oracle Sans Light bullet</a:t>
            </a:r>
          </a:p>
          <a:p>
            <a:pPr lvl="3"/>
            <a:r>
              <a:rPr lang="en-US" dirty="0"/>
              <a:t>Third indent highlight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CA374F58-68F6-4F39-A9F4-B001B827B10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38118" y="2189535"/>
            <a:ext cx="3270251" cy="4017963"/>
          </a:xfrm>
        </p:spPr>
        <p:txBody>
          <a:bodyPr lIns="0">
            <a:normAutofit/>
          </a:bodyPr>
          <a:lstStyle>
            <a:lvl1pPr marL="227013" indent="-227013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  <a:lvl2pPr marL="0" indent="0">
              <a:lnSpc>
                <a:spcPct val="90000"/>
              </a:lnSpc>
              <a:spcBef>
                <a:spcPts val="1200"/>
              </a:spcBef>
              <a:buNone/>
              <a:defRPr sz="1800"/>
            </a:lvl2pPr>
            <a:lvl3pPr marL="285750" indent="-28575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 b="0">
                <a:solidFill>
                  <a:schemeClr val="tx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3pPr>
            <a:lvl4pPr marL="0" indent="0">
              <a:lnSpc>
                <a:spcPct val="90000"/>
              </a:lnSpc>
              <a:spcBef>
                <a:spcPts val="1200"/>
              </a:spcBef>
              <a:buNone/>
              <a:defRPr sz="1800" b="1">
                <a:solidFill>
                  <a:schemeClr val="accent5"/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4pPr>
            <a:lvl5pPr marL="1658938" indent="-228600">
              <a:lnSpc>
                <a:spcPct val="90000"/>
              </a:lnSpc>
              <a:spcBef>
                <a:spcPts val="1200"/>
              </a:spcBef>
              <a:defRPr sz="1800"/>
            </a:lvl5pPr>
          </a:lstStyle>
          <a:p>
            <a:pPr lvl="0"/>
            <a:r>
              <a:rPr lang="en-US" dirty="0"/>
              <a:t>Left First level Bold 18 </a:t>
            </a:r>
            <a:r>
              <a:rPr lang="en-US" dirty="0" err="1"/>
              <a:t>pt</a:t>
            </a:r>
            <a:r>
              <a:rPr lang="en-US" dirty="0"/>
              <a:t> font</a:t>
            </a:r>
          </a:p>
          <a:p>
            <a:pPr lvl="1"/>
            <a:r>
              <a:rPr lang="en-US" dirty="0"/>
              <a:t>First indent Oracle Sans Light</a:t>
            </a:r>
          </a:p>
          <a:p>
            <a:pPr lvl="2"/>
            <a:r>
              <a:rPr lang="en-US" dirty="0"/>
              <a:t>Second indent Oracle Sans Light bullet</a:t>
            </a:r>
          </a:p>
          <a:p>
            <a:pPr lvl="3"/>
            <a:r>
              <a:rPr lang="en-US" dirty="0"/>
              <a:t>Third indent highlight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926DF99-D0B5-49D6-97C7-79C26CE790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07886" y="2189535"/>
            <a:ext cx="3270251" cy="4017963"/>
          </a:xfrm>
        </p:spPr>
        <p:txBody>
          <a:bodyPr lIns="0">
            <a:normAutofit/>
          </a:bodyPr>
          <a:lstStyle>
            <a:lvl1pPr marL="227013" indent="-227013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  <a:lvl2pPr marL="0" indent="0">
              <a:lnSpc>
                <a:spcPct val="90000"/>
              </a:lnSpc>
              <a:spcBef>
                <a:spcPts val="1200"/>
              </a:spcBef>
              <a:buNone/>
              <a:defRPr sz="1800"/>
            </a:lvl2pPr>
            <a:lvl3pPr marL="285750" indent="-28575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 b="0">
                <a:solidFill>
                  <a:schemeClr val="tx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3pPr>
            <a:lvl4pPr marL="0" indent="0">
              <a:lnSpc>
                <a:spcPct val="90000"/>
              </a:lnSpc>
              <a:spcBef>
                <a:spcPts val="1200"/>
              </a:spcBef>
              <a:buNone/>
              <a:defRPr sz="1800" b="1">
                <a:solidFill>
                  <a:schemeClr val="accent5"/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4pPr>
            <a:lvl5pPr marL="1658938" indent="-228600">
              <a:lnSpc>
                <a:spcPct val="90000"/>
              </a:lnSpc>
              <a:spcBef>
                <a:spcPts val="1200"/>
              </a:spcBef>
              <a:defRPr sz="1800"/>
            </a:lvl5pPr>
          </a:lstStyle>
          <a:p>
            <a:pPr lvl="0"/>
            <a:r>
              <a:rPr lang="en-US" dirty="0"/>
              <a:t>Left First level Bold 18 </a:t>
            </a:r>
            <a:r>
              <a:rPr lang="en-US" dirty="0" err="1"/>
              <a:t>pt</a:t>
            </a:r>
            <a:r>
              <a:rPr lang="en-US" dirty="0"/>
              <a:t> font</a:t>
            </a:r>
          </a:p>
          <a:p>
            <a:pPr lvl="1"/>
            <a:r>
              <a:rPr lang="en-US" dirty="0"/>
              <a:t>First indent Oracle Sans Light</a:t>
            </a:r>
          </a:p>
          <a:p>
            <a:pPr lvl="2"/>
            <a:r>
              <a:rPr lang="en-US" dirty="0"/>
              <a:t>Second indent Oracle Sans Light bullet</a:t>
            </a:r>
          </a:p>
          <a:p>
            <a:pPr lvl="3"/>
            <a:r>
              <a:rPr lang="en-US" dirty="0"/>
              <a:t>Third indent highligh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93FD3E8-661D-B345-A6A5-8A6D0CD8EB1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51E3A20-8382-40D4-A2D7-57EF9295C6C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7184" y="4508413"/>
            <a:ext cx="5854818" cy="234192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3200C90-13E4-4392-B474-C7EB0553F5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12BFF651-78AB-4CAC-B370-764C93AC2C42}"/>
              </a:ext>
            </a:extLst>
          </p:cNvPr>
          <p:cNvSpPr/>
          <p:nvPr/>
        </p:nvSpPr>
        <p:spPr>
          <a:xfrm>
            <a:off x="768097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2A6106F-3073-4B98-A79E-E5FC4786C96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A38D5227-B181-49D0-BF0F-E8BE577AC3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7184" y="4508413"/>
            <a:ext cx="5854818" cy="234192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9F691063-2A7E-4035-9D8A-1687A117DE4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9DE622D9-14FB-4B2B-9439-356E7A05FAE6}"/>
              </a:ext>
            </a:extLst>
          </p:cNvPr>
          <p:cNvSpPr/>
          <p:nvPr userDrawn="1"/>
        </p:nvSpPr>
        <p:spPr>
          <a:xfrm>
            <a:off x="768097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176B277A-FEA6-4C64-BCC6-4EB2768F06A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B7A756-5D0C-49B8-9388-105AE281EA4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– © 2019 Oracle and Santander Highly Restricte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CD3180-3826-4E5D-B5DC-DFBC89CCA5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3620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1" pos="2664">
          <p15:clr>
            <a:srgbClr val="FBAE40"/>
          </p15:clr>
        </p15:guide>
        <p15:guide id="12" pos="4848">
          <p15:clr>
            <a:srgbClr val="FBAE40"/>
          </p15:clr>
        </p15:guide>
        <p15:guide id="13" pos="2544">
          <p15:clr>
            <a:srgbClr val="FBAE40"/>
          </p15:clr>
        </p15:guide>
        <p15:guide id="14" pos="4728">
          <p15:clr>
            <a:srgbClr val="FBAE40"/>
          </p15:clr>
        </p15:guide>
        <p15:guide id="15" pos="691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ight Quadrant for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345354F-63F4-482F-A204-4C77453A981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7184" y="4508413"/>
            <a:ext cx="5854818" cy="234192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DC3F9EA-539F-4F68-9BC1-F32D60E195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7184" y="4508413"/>
            <a:ext cx="5854818" cy="234192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60AB3B5-6759-364A-B98F-4622117D774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7184" y="4508413"/>
            <a:ext cx="5854818" cy="2341927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B46B041F-833F-AB4C-9680-F86574375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8"/>
            <a:ext cx="10210297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Quadrant for infographics Layout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EF88010-6F25-0949-962C-71A71BBDD2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AE5D2D5-96D0-7047-93E6-327A01072B11}"/>
              </a:ext>
            </a:extLst>
          </p:cNvPr>
          <p:cNvSpPr/>
          <p:nvPr/>
        </p:nvSpPr>
        <p:spPr>
          <a:xfrm>
            <a:off x="768097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83F18B1C-2F6B-9349-8DAB-48E7D54A83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04246" y="4162026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Put text here. Add graphic or stat to the left of the text.</a:t>
            </a:r>
          </a:p>
        </p:txBody>
      </p:sp>
      <p:sp>
        <p:nvSpPr>
          <p:cNvPr id="22" name="Text Placeholder 33">
            <a:extLst>
              <a:ext uri="{FF2B5EF4-FFF2-40B4-BE49-F238E27FC236}">
                <a16:creationId xmlns:a16="http://schemas.microsoft.com/office/drawing/2014/main" id="{0EF89F6D-A8E2-0348-8488-D69D629143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04271" y="2271145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Put text here. Add graphic or stat to the left of the text.</a:t>
            </a:r>
          </a:p>
        </p:txBody>
      </p:sp>
      <p:sp>
        <p:nvSpPr>
          <p:cNvPr id="24" name="Text Placeholder 33">
            <a:extLst>
              <a:ext uri="{FF2B5EF4-FFF2-40B4-BE49-F238E27FC236}">
                <a16:creationId xmlns:a16="http://schemas.microsoft.com/office/drawing/2014/main" id="{A0723324-5918-2C42-9A87-949E736CBF1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04271" y="4162026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Put text here. Add graphic or stat to the left of the text.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B4578909-EA57-4049-8339-75544D89FC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204246" y="2278499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Put text here. Add graphic or stat to the left of the text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38DEBDB-09EC-C44F-A4DF-CC6C8EFC910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02B5242-6778-4384-AFDF-0716A57B83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CE0A1C4B-85BC-4790-9AF5-E2AFD9105331}"/>
              </a:ext>
            </a:extLst>
          </p:cNvPr>
          <p:cNvSpPr/>
          <p:nvPr/>
        </p:nvSpPr>
        <p:spPr>
          <a:xfrm>
            <a:off x="768097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ACB656B-012D-4DF7-956F-4FC56B28156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450FE1C-5147-44C2-95A7-7D53BE2835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028CECF2-3BD2-4F62-9327-D2BFFE41EA0B}"/>
              </a:ext>
            </a:extLst>
          </p:cNvPr>
          <p:cNvSpPr/>
          <p:nvPr userDrawn="1"/>
        </p:nvSpPr>
        <p:spPr>
          <a:xfrm>
            <a:off x="768097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4060E3B7-A437-4392-9891-6E9E575A23D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89046B-C0A8-4F9F-9FF6-D938B9686A4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Confidential – © 2019 Oracle and Santander Highly Restricte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A3EDB6-27BA-4B04-B316-194A63F4A414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228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ight Metr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D46810D-06AF-8048-A8FC-EB9C64BA98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1286" y="2275167"/>
            <a:ext cx="1906500" cy="914400"/>
          </a:xfrm>
        </p:spPr>
        <p:txBody>
          <a:bodyPr lIns="0" rIns="0">
            <a:noAutofit/>
          </a:bodyPr>
          <a:lstStyle>
            <a:lvl1pPr marL="0" indent="0">
              <a:buNone/>
              <a:defRPr sz="6000" b="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4354AFA5-AF57-6040-82D7-328298E6DA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287" y="3231646"/>
            <a:ext cx="4371153" cy="914400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rgbClr val="4A362B"/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Duis vitae </a:t>
            </a:r>
            <a:r>
              <a:rPr lang="en-US" dirty="0" err="1"/>
              <a:t>interdum</a:t>
            </a:r>
            <a:r>
              <a:rPr lang="en-US" dirty="0"/>
              <a:t> diam, non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35EE8B-95EA-4038-994D-5F9FD147E460}"/>
              </a:ext>
            </a:extLst>
          </p:cNvPr>
          <p:cNvPicPr>
            <a:picLocks noChangeAspect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2"/>
            <a:ext cx="6096001" cy="68579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AC950DD-10EF-0A45-A8E3-72297036049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C61979B-8CA0-4C0F-8E4F-3A70CA90FA28}"/>
              </a:ext>
            </a:extLst>
          </p:cNvPr>
          <p:cNvPicPr>
            <a:picLocks noChangeAspect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2"/>
            <a:ext cx="6096001" cy="685799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91FE245-7D30-408F-9744-FB50E959782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28BFC84-DAB3-43B6-9E37-69DF65F2B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2"/>
            <a:ext cx="6096001" cy="685799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F4462B1-8C55-46C9-AA88-8AF4F024523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44EDC2-565A-4C31-9968-94570DE7596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– © 2019 Oracle and Santander Highly Restricte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E80FE2-D0A6-4E42-9C9C-BF0216110A4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9673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ight Thank yo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building, clothing&#10;&#10;Description automatically generated">
            <a:extLst>
              <a:ext uri="{FF2B5EF4-FFF2-40B4-BE49-F238E27FC236}">
                <a16:creationId xmlns:a16="http://schemas.microsoft.com/office/drawing/2014/main" id="{B16600C8-A851-494D-A5DF-470343F874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0"/>
            <a:ext cx="6096001" cy="6858000"/>
          </a:xfrm>
          <a:prstGeom prst="rect">
            <a:avLst/>
          </a:prstGeom>
        </p:spPr>
      </p:pic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2A2E959E-F30E-F643-947E-CE66F05DD80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1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Text Placeholder 26">
            <a:extLst>
              <a:ext uri="{FF2B5EF4-FFF2-40B4-BE49-F238E27FC236}">
                <a16:creationId xmlns:a16="http://schemas.microsoft.com/office/drawing/2014/main" id="{2AFE612B-3DB1-C64D-BD3B-51ECDB8CE4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095" y="2346183"/>
            <a:ext cx="4257726" cy="2242890"/>
          </a:xfrm>
        </p:spPr>
        <p:txBody>
          <a:bodyPr lIns="0" anchor="ctr">
            <a:noAutofit/>
          </a:bodyPr>
          <a:lstStyle>
            <a:lvl1pPr marL="0" indent="0" algn="l" fontAlgn="t">
              <a:lnSpc>
                <a:spcPct val="100000"/>
              </a:lnSpc>
              <a:spcBef>
                <a:spcPts val="0"/>
              </a:spcBef>
              <a:buNone/>
              <a:defRPr sz="4000" b="0" i="0">
                <a:solidFill>
                  <a:srgbClr val="4E3629"/>
                </a:solidFill>
                <a:latin typeface="Georgia" panose="02040502050405020303" pitchFamily="18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0" name="Text Placeholder 26">
            <a:extLst>
              <a:ext uri="{FF2B5EF4-FFF2-40B4-BE49-F238E27FC236}">
                <a16:creationId xmlns:a16="http://schemas.microsoft.com/office/drawing/2014/main" id="{7F794D52-5437-F64A-97D5-34BE49EA9B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8095" y="5239646"/>
            <a:ext cx="4257726" cy="249346"/>
          </a:xfrm>
        </p:spPr>
        <p:txBody>
          <a:bodyPr lIns="0">
            <a:noAutofit/>
          </a:bodyPr>
          <a:lstStyle>
            <a:lvl1pPr marL="0" indent="0" algn="l" fontAlgn="t">
              <a:lnSpc>
                <a:spcPct val="100000"/>
              </a:lnSpc>
              <a:spcBef>
                <a:spcPts val="0"/>
              </a:spcBef>
              <a:buNone/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1" name="Text Placeholder 26">
            <a:extLst>
              <a:ext uri="{FF2B5EF4-FFF2-40B4-BE49-F238E27FC236}">
                <a16:creationId xmlns:a16="http://schemas.microsoft.com/office/drawing/2014/main" id="{1975E737-A6D5-0E4E-AA04-5FECD0BE96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68095" y="5564671"/>
            <a:ext cx="4257726" cy="528567"/>
          </a:xfrm>
        </p:spPr>
        <p:txBody>
          <a:bodyPr lIns="0">
            <a:noAutofit/>
          </a:bodyPr>
          <a:lstStyle>
            <a:lvl1pPr marL="0" indent="0" algn="l" fontAlgn="t">
              <a:lnSpc>
                <a:spcPct val="100000"/>
              </a:lnSpc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ECAD913-B3D1-D145-A54B-58496F5971A5}"/>
              </a:ext>
            </a:extLst>
          </p:cNvPr>
          <p:cNvSpPr/>
          <p:nvPr/>
        </p:nvSpPr>
        <p:spPr>
          <a:xfrm>
            <a:off x="768097" y="4829530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A19D16B-DFD4-2344-906E-5A0F6B04D74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1" name="Picture 10" descr="A picture containing building, clothing&#10;&#10;Description automatically generated">
            <a:extLst>
              <a:ext uri="{FF2B5EF4-FFF2-40B4-BE49-F238E27FC236}">
                <a16:creationId xmlns:a16="http://schemas.microsoft.com/office/drawing/2014/main" id="{39D63364-768B-4110-82C8-D5C076833F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0"/>
            <a:ext cx="6096001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8C07A746-80ED-42C3-BACF-92289158E10A}"/>
              </a:ext>
            </a:extLst>
          </p:cNvPr>
          <p:cNvSpPr/>
          <p:nvPr/>
        </p:nvSpPr>
        <p:spPr>
          <a:xfrm>
            <a:off x="768097" y="4829530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1F4E939-025A-4570-A37B-809F63355B6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23" name="Picture 22" descr="A picture containing building, clothing&#10;&#10;Description automatically generated">
            <a:extLst>
              <a:ext uri="{FF2B5EF4-FFF2-40B4-BE49-F238E27FC236}">
                <a16:creationId xmlns:a16="http://schemas.microsoft.com/office/drawing/2014/main" id="{87420513-9602-400D-825E-7A24CF567D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0"/>
            <a:ext cx="6096001" cy="685800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2E775BD4-D10F-4E5A-A574-E12136985AC5}"/>
              </a:ext>
            </a:extLst>
          </p:cNvPr>
          <p:cNvSpPr/>
          <p:nvPr userDrawn="1"/>
        </p:nvSpPr>
        <p:spPr>
          <a:xfrm>
            <a:off x="768097" y="4829530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9191464-339C-4F1C-8686-02A5E38900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4BBAF0-A351-4E69-BC1B-4BB5319DFBB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– © 2019 Oracle and Santander Highly Restricte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241512-97B3-4650-B3C3-1348E03CBF4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378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ure 0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 up of a door&#10;&#10;Description automatically generated">
            <a:extLst>
              <a:ext uri="{FF2B5EF4-FFF2-40B4-BE49-F238E27FC236}">
                <a16:creationId xmlns:a16="http://schemas.microsoft.com/office/drawing/2014/main" id="{970A2BBB-101E-0C4A-B5DC-9173D7D816A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29C47C7-B385-D249-B858-5315761319B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7" name="Picture 6" descr="A close up of a door&#10;&#10;Description automatically generated">
            <a:extLst>
              <a:ext uri="{FF2B5EF4-FFF2-40B4-BE49-F238E27FC236}">
                <a16:creationId xmlns:a16="http://schemas.microsoft.com/office/drawing/2014/main" id="{230CCB0F-9F56-4F94-900D-88466A2114F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14BBEDB-D007-475D-83C8-2CFEDB26D80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2" name="Picture 11" descr="A close up of a door&#10;&#10;Description automatically generated">
            <a:extLst>
              <a:ext uri="{FF2B5EF4-FFF2-40B4-BE49-F238E27FC236}">
                <a16:creationId xmlns:a16="http://schemas.microsoft.com/office/drawing/2014/main" id="{2BE0110C-FE58-4BA0-BB57-19206FC7D4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0E5490C-3E01-4ADE-9C3A-C19D6E393F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077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ure 0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 up of some water&#10;&#10;Description automatically generated">
            <a:extLst>
              <a:ext uri="{FF2B5EF4-FFF2-40B4-BE49-F238E27FC236}">
                <a16:creationId xmlns:a16="http://schemas.microsoft.com/office/drawing/2014/main" id="{B31BB115-DDAF-7E49-906D-44B20F70F46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64337D-C8B0-BF47-8A0E-52BCDDA79A5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7" name="Picture 6" descr="A close up of some water&#10;&#10;Description automatically generated">
            <a:extLst>
              <a:ext uri="{FF2B5EF4-FFF2-40B4-BE49-F238E27FC236}">
                <a16:creationId xmlns:a16="http://schemas.microsoft.com/office/drawing/2014/main" id="{15FACCE1-E55B-4BD3-B406-AD8F967F564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4E729D8-D2C7-465F-AC06-1DDD4825285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2" name="Picture 11" descr="A close up of some water&#10;&#10;Description automatically generated">
            <a:extLst>
              <a:ext uri="{FF2B5EF4-FFF2-40B4-BE49-F238E27FC236}">
                <a16:creationId xmlns:a16="http://schemas.microsoft.com/office/drawing/2014/main" id="{DCA4836F-B9D2-4DEA-AD4E-3DDB22834D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9FE951C-85D8-45CD-B9D1-A5D2520C9E1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75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ure 0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white, piece, photo&#10;&#10;Description automatically generated">
            <a:extLst>
              <a:ext uri="{FF2B5EF4-FFF2-40B4-BE49-F238E27FC236}">
                <a16:creationId xmlns:a16="http://schemas.microsoft.com/office/drawing/2014/main" id="{E8E47E4C-7FA3-CB47-BE1B-D33975C1C2E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202A0DA-F8B9-A541-BD88-7B92139EE93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7" name="Picture 6" descr="A picture containing indoor, white, piece, photo&#10;&#10;Description automatically generated">
            <a:extLst>
              <a:ext uri="{FF2B5EF4-FFF2-40B4-BE49-F238E27FC236}">
                <a16:creationId xmlns:a16="http://schemas.microsoft.com/office/drawing/2014/main" id="{F5C50A81-A734-415A-BD1D-477618542B4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FE1C990-5FF8-42B1-AC3B-4BD7D41607B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2" name="Picture 11" descr="A picture containing indoor, white, piece, photo&#10;&#10;Description automatically generated">
            <a:extLst>
              <a:ext uri="{FF2B5EF4-FFF2-40B4-BE49-F238E27FC236}">
                <a16:creationId xmlns:a16="http://schemas.microsoft.com/office/drawing/2014/main" id="{8401FAF8-B2E3-461D-9AF3-55D70C6BD1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492418A-D437-4C81-8DA2-A19297E6F3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534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ure 0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photo, white, sitting&#10;&#10;Description automatically generated">
            <a:extLst>
              <a:ext uri="{FF2B5EF4-FFF2-40B4-BE49-F238E27FC236}">
                <a16:creationId xmlns:a16="http://schemas.microsoft.com/office/drawing/2014/main" id="{760DBD34-B545-E447-B451-688BFA50F8B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D543BC3-6EEF-054A-9CC4-5A60BFEEBFD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7" name="Picture 6" descr="A picture containing indoor, photo, white, sitting&#10;&#10;Description automatically generated">
            <a:extLst>
              <a:ext uri="{FF2B5EF4-FFF2-40B4-BE49-F238E27FC236}">
                <a16:creationId xmlns:a16="http://schemas.microsoft.com/office/drawing/2014/main" id="{E6E90FDD-BF55-4AD2-AA63-7A9961D71F0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9ADE6C-F7B5-4341-A401-09851ACD775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2" name="Picture 11" descr="A picture containing indoor, photo, white, sitting&#10;&#10;Description automatically generated">
            <a:extLst>
              <a:ext uri="{FF2B5EF4-FFF2-40B4-BE49-F238E27FC236}">
                <a16:creationId xmlns:a16="http://schemas.microsoft.com/office/drawing/2014/main" id="{121C8960-004F-4ADB-B0BC-71328C7862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CC5CECD-9B7E-4437-ACE4-1D7922929E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157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ure 0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white, shower, large, holding&#10;&#10;Description automatically generated">
            <a:extLst>
              <a:ext uri="{FF2B5EF4-FFF2-40B4-BE49-F238E27FC236}">
                <a16:creationId xmlns:a16="http://schemas.microsoft.com/office/drawing/2014/main" id="{745574D9-974C-C14A-B26B-8F58EB3F6D3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0ADF097-866B-314A-ADD8-32C56332CD6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7" name="Picture 6" descr="A picture containing white, shower, large, holding&#10;&#10;Description automatically generated">
            <a:extLst>
              <a:ext uri="{FF2B5EF4-FFF2-40B4-BE49-F238E27FC236}">
                <a16:creationId xmlns:a16="http://schemas.microsoft.com/office/drawing/2014/main" id="{D1A0D7AB-EEB7-48BA-9664-8F8177AEA7E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6E335BD-8741-45BF-83AB-4CB7C3BEBD4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2" name="Picture 11" descr="A picture containing white, shower, large, holding&#10;&#10;Description automatically generated">
            <a:extLst>
              <a:ext uri="{FF2B5EF4-FFF2-40B4-BE49-F238E27FC236}">
                <a16:creationId xmlns:a16="http://schemas.microsoft.com/office/drawing/2014/main" id="{CA4613F7-D977-4F5E-AB51-06369D8331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DC09056-B653-48E9-BB50-2822F035BB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583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1.xml"/><Relationship Id="rId21" Type="http://schemas.openxmlformats.org/officeDocument/2006/relationships/image" Target="../media/image1.jpg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image" Target="../media/image1.jpg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26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94.xml"/><Relationship Id="rId34" Type="http://schemas.openxmlformats.org/officeDocument/2006/relationships/tags" Target="../tags/tag1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slideLayout" Target="../slideLayouts/slideLayout98.xml"/><Relationship Id="rId33" Type="http://schemas.openxmlformats.org/officeDocument/2006/relationships/vmlDrawing" Target="../drawings/vmlDrawing1.vml"/><Relationship Id="rId38" Type="http://schemas.openxmlformats.org/officeDocument/2006/relationships/image" Target="../media/image25.png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29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slideLayout" Target="../slideLayouts/slideLayout97.xml"/><Relationship Id="rId32" Type="http://schemas.openxmlformats.org/officeDocument/2006/relationships/theme" Target="../theme/theme4.xml"/><Relationship Id="rId37" Type="http://schemas.openxmlformats.org/officeDocument/2006/relationships/image" Target="../media/image1.jpg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slideLayout" Target="../slideLayouts/slideLayout96.xml"/><Relationship Id="rId28" Type="http://schemas.openxmlformats.org/officeDocument/2006/relationships/slideLayout" Target="../slideLayouts/slideLayout101.xml"/><Relationship Id="rId36" Type="http://schemas.openxmlformats.org/officeDocument/2006/relationships/image" Target="../media/image24.emf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31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100.xml"/><Relationship Id="rId30" Type="http://schemas.openxmlformats.org/officeDocument/2006/relationships/slideLayout" Target="../slideLayouts/slideLayout103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0E2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1F6839A-7020-4254-BB27-017A0258D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 dirty="0"/>
              <a:t>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714D97-2391-495E-8C13-180C0EB286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23B6C0B-A6D8-4755-9395-F94ECF5A0491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446C395-84D2-B842-A7E3-2D0A40669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7515" y="6356350"/>
            <a:ext cx="3864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8B8078"/>
                </a:solidFill>
                <a:latin typeface="+mn-lt"/>
                <a:cs typeface="Oracle Sans" panose="020B0503020204020204" pitchFamily="34" charset="0"/>
              </a:defRPr>
            </a:lvl1pPr>
          </a:lstStyle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EFF067D-4DD6-1945-911D-846CE543D5C2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C585BC-CCE3-468E-BD8A-AE9B6B3165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395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8B8078"/>
                </a:solidFill>
                <a:latin typeface="+mn-lt"/>
                <a:cs typeface="Oracle Sans" panose="020B0503020204020204" pitchFamily="34" charset="0"/>
              </a:defRPr>
            </a:lvl1pPr>
          </a:lstStyle>
          <a:p>
            <a:r>
              <a:rPr lang="en-US"/>
              <a:t>Copyright © 2019 Oracle and/or its affliat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631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719" r:id="rId2"/>
    <p:sldLayoutId id="2147483733" r:id="rId3"/>
    <p:sldLayoutId id="2147483721" r:id="rId4"/>
    <p:sldLayoutId id="2147483734" r:id="rId5"/>
    <p:sldLayoutId id="2147483682" r:id="rId6"/>
    <p:sldLayoutId id="2147483678" r:id="rId7"/>
    <p:sldLayoutId id="2147483683" r:id="rId8"/>
    <p:sldLayoutId id="2147483693" r:id="rId9"/>
    <p:sldLayoutId id="2147483723" r:id="rId10"/>
    <p:sldLayoutId id="2147483724" r:id="rId11"/>
    <p:sldLayoutId id="2147483725" r:id="rId12"/>
    <p:sldLayoutId id="2147483726" r:id="rId13"/>
    <p:sldLayoutId id="2147483679" r:id="rId14"/>
    <p:sldLayoutId id="2147483727" r:id="rId15"/>
    <p:sldLayoutId id="2147483729" r:id="rId16"/>
    <p:sldLayoutId id="2147483730" r:id="rId17"/>
    <p:sldLayoutId id="2147483731" r:id="rId18"/>
    <p:sldLayoutId id="2147483732" r:id="rId19"/>
    <p:sldLayoutId id="2147483756" r:id="rId20"/>
    <p:sldLayoutId id="2147483757" r:id="rId21"/>
    <p:sldLayoutId id="2147483758" r:id="rId22"/>
    <p:sldLayoutId id="2147483759" r:id="rId23"/>
    <p:sldLayoutId id="2147483760" r:id="rId24"/>
    <p:sldLayoutId id="2147483761" r:id="rId25"/>
    <p:sldLayoutId id="2147483763" r:id="rId26"/>
    <p:sldLayoutId id="2147483836" r:id="rId27"/>
    <p:sldLayoutId id="2147483837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Georgia" panose="02040502050405020303" pitchFamily="18" charset="0"/>
          <a:ea typeface="+mj-ea"/>
          <a:cs typeface="Oracle Sans" panose="020B0503020204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827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1F6839A-7020-4254-BB27-017A0258D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 dirty="0"/>
              <a:t>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714D97-2391-495E-8C13-180C0EB286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23B6C0B-A6D8-4755-9395-F94ECF5A0491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446C395-84D2-B842-A7E3-2D0A40669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7515" y="6356350"/>
            <a:ext cx="3864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  <a:latin typeface="+mn-lt"/>
                <a:cs typeface="Oracle Sans" panose="020B0503020204020204" pitchFamily="34" charset="0"/>
              </a:defRPr>
            </a:lvl1pPr>
          </a:lstStyle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EBF6404-9E78-844F-B5FC-770CD9591C85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B168A7-4574-4FD8-965C-D37BC160EC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395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Copyright © 2019 Oracle and/or its affliat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4486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  <p:sldLayoutId id="2147483754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Georgia" panose="02040502050405020303" pitchFamily="18" charset="0"/>
          <a:ea typeface="+mj-ea"/>
          <a:cs typeface="Oracle Sans" panose="020B0503020204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b="0" i="0" kern="1200">
          <a:solidFill>
            <a:schemeClr val="bg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b="0" i="0" kern="1200">
          <a:solidFill>
            <a:schemeClr val="bg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0" i="0" kern="1200">
          <a:solidFill>
            <a:schemeClr val="bg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bg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bg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0E2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1F6839A-7020-4254-BB27-017A0258D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 dirty="0"/>
              <a:t>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714D97-2391-495E-8C13-180C0EB286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23B6C0B-A6D8-4755-9395-F94ECF5A0491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446C395-84D2-B842-A7E3-2D0A40669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7515" y="6356350"/>
            <a:ext cx="3864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8B8078"/>
                </a:solidFill>
                <a:latin typeface="+mn-lt"/>
                <a:cs typeface="Oracle Sans" panose="020B0503020204020204" pitchFamily="34" charset="0"/>
              </a:defRPr>
            </a:lvl1pPr>
          </a:lstStyle>
          <a:p>
            <a:fld id="{7C371504-33D9-B044-8C50-620C44A06CB1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EFF067D-4DD6-1945-911D-846CE543D5C2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C585BC-CCE3-468E-BD8A-AE9B6B3165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395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8B8078"/>
                </a:solidFill>
                <a:latin typeface="+mn-lt"/>
                <a:cs typeface="Oracle Sans" panose="020B0503020204020204" pitchFamily="34" charset="0"/>
              </a:defRPr>
            </a:lvl1pPr>
          </a:lstStyle>
          <a:p>
            <a:r>
              <a:rPr lang="en-US"/>
              <a:t>Copyright © 2019 Oracle and/or its affliat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759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  <p:sldLayoutId id="2147483783" r:id="rId12"/>
    <p:sldLayoutId id="2147483784" r:id="rId13"/>
    <p:sldLayoutId id="2147483785" r:id="rId14"/>
    <p:sldLayoutId id="2147483786" r:id="rId15"/>
    <p:sldLayoutId id="2147483787" r:id="rId16"/>
    <p:sldLayoutId id="2147483788" r:id="rId17"/>
    <p:sldLayoutId id="2147483789" r:id="rId18"/>
    <p:sldLayoutId id="2147483790" r:id="rId19"/>
    <p:sldLayoutId id="2147483791" r:id="rId20"/>
    <p:sldLayoutId id="2147483793" r:id="rId21"/>
    <p:sldLayoutId id="2147483794" r:id="rId22"/>
    <p:sldLayoutId id="2147483795" r:id="rId23"/>
    <p:sldLayoutId id="2147483796" r:id="rId24"/>
    <p:sldLayoutId id="2147483797" r:id="rId25"/>
    <p:sldLayoutId id="2147483798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Georgia" panose="02040502050405020303" pitchFamily="18" charset="0"/>
          <a:ea typeface="+mj-ea"/>
          <a:cs typeface="Oracle Sans" panose="020B0503020204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080C123-A6FB-47CF-BF24-1DC3E398B6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35" imgW="471" imgH="472" progId="TCLayout.ActiveDocument.1">
                  <p:embed/>
                </p:oleObj>
              </mc:Choice>
              <mc:Fallback>
                <p:oleObj name="think-cell Slide" r:id="rId35" imgW="471" imgH="4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080C123-A6FB-47CF-BF24-1DC3E398B6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A70F255-3C2A-4AC7-8935-184146E3B6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57E2B0-E630-40F9-B86F-A996E5DBB3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57CDA79-A57A-4F60-A7DE-BB68F1B7F541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46E2EF1-B91A-2948-AD74-5FA1959130A2}"/>
              </a:ext>
            </a:extLst>
          </p:cNvPr>
          <p:cNvPicPr>
            <a:picLocks noChangeAspect="1"/>
          </p:cNvPicPr>
          <p:nvPr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9F2125B-6AD9-4733-942D-69A78561AF49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270E1AF-83DC-4C83-904C-3577420715CE}"/>
              </a:ext>
            </a:extLst>
          </p:cNvPr>
          <p:cNvPicPr>
            <a:picLocks noChangeAspect="1"/>
          </p:cNvPicPr>
          <p:nvPr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C633818-5C41-42C4-A03A-37B8E8AAFAFC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254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CEE7DF5-DA7F-418F-B13F-74421E226077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3379" y="6356350"/>
            <a:ext cx="502920" cy="502920"/>
          </a:xfrm>
          <a:prstGeom prst="rect">
            <a:avLst/>
          </a:prstGeom>
        </p:spPr>
      </p:pic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08A3F6CD-49F4-D74B-8C7F-D6CA71EFB1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2672" y="6406516"/>
            <a:ext cx="384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8B8580"/>
                </a:solidFill>
              </a:defRPr>
            </a:lvl1pPr>
          </a:lstStyle>
          <a:p>
            <a:fld id="{345D60D9-5372-5F40-9443-0F9AE5BDC3C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8E003242-6B91-1949-A5CA-15BA57A045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6720" y="6406517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8B8580"/>
                </a:solidFill>
              </a:defRPr>
            </a:lvl1pPr>
          </a:lstStyle>
          <a:p>
            <a:r>
              <a:rPr lang="en-US"/>
              <a:t>Confidential – © 2019 Oracle and Santander Highly Restricted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140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  <p:sldLayoutId id="2147483850" r:id="rId12"/>
    <p:sldLayoutId id="2147483851" r:id="rId13"/>
    <p:sldLayoutId id="2147483852" r:id="rId14"/>
    <p:sldLayoutId id="2147483853" r:id="rId15"/>
    <p:sldLayoutId id="2147483854" r:id="rId16"/>
    <p:sldLayoutId id="2147483855" r:id="rId17"/>
    <p:sldLayoutId id="2147483856" r:id="rId18"/>
    <p:sldLayoutId id="2147483857" r:id="rId19"/>
    <p:sldLayoutId id="2147483858" r:id="rId20"/>
    <p:sldLayoutId id="2147483859" r:id="rId21"/>
    <p:sldLayoutId id="2147483860" r:id="rId22"/>
    <p:sldLayoutId id="2147483861" r:id="rId23"/>
    <p:sldLayoutId id="2147483862" r:id="rId24"/>
    <p:sldLayoutId id="2147483863" r:id="rId25"/>
    <p:sldLayoutId id="2147483864" r:id="rId26"/>
    <p:sldLayoutId id="2147483865" r:id="rId27"/>
    <p:sldLayoutId id="2147483866" r:id="rId28"/>
    <p:sldLayoutId id="2147483867" r:id="rId29"/>
    <p:sldLayoutId id="2147483868" r:id="rId30"/>
    <p:sldLayoutId id="2147483869" r:id="rId3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9725" indent="-339725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6">
          <p15:clr>
            <a:srgbClr val="F26B43"/>
          </p15:clr>
        </p15:guide>
        <p15:guide id="2" orient="horz" pos="40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56.png"/><Relationship Id="rId5" Type="http://schemas.openxmlformats.org/officeDocument/2006/relationships/image" Target="../media/image50.png"/><Relationship Id="rId4" Type="http://schemas.openxmlformats.org/officeDocument/2006/relationships/image" Target="../media/image5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57.png"/><Relationship Id="rId5" Type="http://schemas.openxmlformats.org/officeDocument/2006/relationships/image" Target="../media/image43.png"/><Relationship Id="rId4" Type="http://schemas.openxmlformats.org/officeDocument/2006/relationships/image" Target="../media/image5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5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50.png"/><Relationship Id="rId4" Type="http://schemas.openxmlformats.org/officeDocument/2006/relationships/image" Target="../media/image4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3.png"/><Relationship Id="rId5" Type="http://schemas.openxmlformats.org/officeDocument/2006/relationships/image" Target="../media/image58.png"/><Relationship Id="rId4" Type="http://schemas.openxmlformats.org/officeDocument/2006/relationships/image" Target="../media/image6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5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13" Type="http://schemas.openxmlformats.org/officeDocument/2006/relationships/image" Target="../media/image72.emf"/><Relationship Id="rId3" Type="http://schemas.openxmlformats.org/officeDocument/2006/relationships/image" Target="../media/image65.png"/><Relationship Id="rId7" Type="http://schemas.openxmlformats.org/officeDocument/2006/relationships/image" Target="../media/image67.png"/><Relationship Id="rId12" Type="http://schemas.openxmlformats.org/officeDocument/2006/relationships/image" Target="../media/image5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3.png"/><Relationship Id="rId11" Type="http://schemas.openxmlformats.org/officeDocument/2006/relationships/image" Target="../media/image71.png"/><Relationship Id="rId5" Type="http://schemas.openxmlformats.org/officeDocument/2006/relationships/image" Target="../media/image58.png"/><Relationship Id="rId10" Type="http://schemas.openxmlformats.org/officeDocument/2006/relationships/image" Target="../media/image70.png"/><Relationship Id="rId4" Type="http://schemas.openxmlformats.org/officeDocument/2006/relationships/image" Target="../media/image66.png"/><Relationship Id="rId9" Type="http://schemas.openxmlformats.org/officeDocument/2006/relationships/image" Target="../media/image69.png"/><Relationship Id="rId14" Type="http://schemas.openxmlformats.org/officeDocument/2006/relationships/image" Target="../media/image73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13" Type="http://schemas.openxmlformats.org/officeDocument/2006/relationships/image" Target="../media/image74.emf"/><Relationship Id="rId3" Type="http://schemas.openxmlformats.org/officeDocument/2006/relationships/image" Target="../media/image65.png"/><Relationship Id="rId7" Type="http://schemas.openxmlformats.org/officeDocument/2006/relationships/image" Target="../media/image67.png"/><Relationship Id="rId12" Type="http://schemas.openxmlformats.org/officeDocument/2006/relationships/image" Target="../media/image59.png"/><Relationship Id="rId17" Type="http://schemas.openxmlformats.org/officeDocument/2006/relationships/image" Target="../media/image72.emf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73.emf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3.png"/><Relationship Id="rId11" Type="http://schemas.openxmlformats.org/officeDocument/2006/relationships/image" Target="../media/image69.png"/><Relationship Id="rId5" Type="http://schemas.openxmlformats.org/officeDocument/2006/relationships/image" Target="../media/image58.png"/><Relationship Id="rId15" Type="http://schemas.openxmlformats.org/officeDocument/2006/relationships/image" Target="../media/image76.emf"/><Relationship Id="rId10" Type="http://schemas.openxmlformats.org/officeDocument/2006/relationships/image" Target="../media/image71.png"/><Relationship Id="rId4" Type="http://schemas.openxmlformats.org/officeDocument/2006/relationships/image" Target="../media/image66.png"/><Relationship Id="rId9" Type="http://schemas.openxmlformats.org/officeDocument/2006/relationships/image" Target="../media/image70.png"/><Relationship Id="rId14" Type="http://schemas.openxmlformats.org/officeDocument/2006/relationships/image" Target="../media/image7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58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59.png"/><Relationship Id="rId11" Type="http://schemas.openxmlformats.org/officeDocument/2006/relationships/image" Target="../media/image80.emf"/><Relationship Id="rId5" Type="http://schemas.openxmlformats.org/officeDocument/2006/relationships/image" Target="../media/image63.png"/><Relationship Id="rId10" Type="http://schemas.openxmlformats.org/officeDocument/2006/relationships/image" Target="../media/image79.emf"/><Relationship Id="rId4" Type="http://schemas.openxmlformats.org/officeDocument/2006/relationships/image" Target="../media/image65.png"/><Relationship Id="rId9" Type="http://schemas.openxmlformats.org/officeDocument/2006/relationships/image" Target="../media/image7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8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10" Type="http://schemas.openxmlformats.org/officeDocument/2006/relationships/image" Target="../media/image84.png"/><Relationship Id="rId4" Type="http://schemas.openxmlformats.org/officeDocument/2006/relationships/image" Target="../media/image87.png"/><Relationship Id="rId9" Type="http://schemas.openxmlformats.org/officeDocument/2006/relationships/image" Target="../media/image9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8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95.png"/><Relationship Id="rId4" Type="http://schemas.openxmlformats.org/officeDocument/2006/relationships/image" Target="../media/image9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95.png"/><Relationship Id="rId5" Type="http://schemas.openxmlformats.org/officeDocument/2006/relationships/image" Target="../media/image101.png"/><Relationship Id="rId4" Type="http://schemas.openxmlformats.org/officeDocument/2006/relationships/image" Target="../media/image100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95.png"/><Relationship Id="rId5" Type="http://schemas.openxmlformats.org/officeDocument/2006/relationships/image" Target="../media/image101.png"/><Relationship Id="rId4" Type="http://schemas.openxmlformats.org/officeDocument/2006/relationships/image" Target="../media/image100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0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7" Type="http://schemas.openxmlformats.org/officeDocument/2006/relationships/image" Target="../media/image107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03.png"/><Relationship Id="rId5" Type="http://schemas.openxmlformats.org/officeDocument/2006/relationships/image" Target="../media/image106.png"/><Relationship Id="rId4" Type="http://schemas.openxmlformats.org/officeDocument/2006/relationships/image" Target="../media/image105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1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13" Type="http://schemas.openxmlformats.org/officeDocument/2006/relationships/image" Target="../media/image120.png"/><Relationship Id="rId3" Type="http://schemas.openxmlformats.org/officeDocument/2006/relationships/image" Target="../media/image111.jpeg"/><Relationship Id="rId7" Type="http://schemas.openxmlformats.org/officeDocument/2006/relationships/image" Target="../media/image114.png"/><Relationship Id="rId12" Type="http://schemas.openxmlformats.org/officeDocument/2006/relationships/image" Target="../media/image119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13.png"/><Relationship Id="rId11" Type="http://schemas.openxmlformats.org/officeDocument/2006/relationships/image" Target="../media/image118.png"/><Relationship Id="rId5" Type="http://schemas.openxmlformats.org/officeDocument/2006/relationships/image" Target="../media/image112.png"/><Relationship Id="rId10" Type="http://schemas.openxmlformats.org/officeDocument/2006/relationships/image" Target="../media/image117.png"/><Relationship Id="rId4" Type="http://schemas.microsoft.com/office/2007/relationships/hdphoto" Target="../media/hdphoto2.wdp"/><Relationship Id="rId9" Type="http://schemas.openxmlformats.org/officeDocument/2006/relationships/image" Target="../media/image116.png"/><Relationship Id="rId14" Type="http://schemas.openxmlformats.org/officeDocument/2006/relationships/image" Target="../media/image121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92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46.emf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9.emf"/><Relationship Id="rId5" Type="http://schemas.openxmlformats.org/officeDocument/2006/relationships/image" Target="../media/image48.emf"/><Relationship Id="rId4" Type="http://schemas.openxmlformats.org/officeDocument/2006/relationships/image" Target="../media/image47.emf"/><Relationship Id="rId9" Type="http://schemas.openxmlformats.org/officeDocument/2006/relationships/image" Target="../media/image5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emf"/><Relationship Id="rId3" Type="http://schemas.openxmlformats.org/officeDocument/2006/relationships/image" Target="../media/image45.png"/><Relationship Id="rId7" Type="http://schemas.openxmlformats.org/officeDocument/2006/relationships/image" Target="../media/image53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52.png"/><Relationship Id="rId11" Type="http://schemas.openxmlformats.org/officeDocument/2006/relationships/image" Target="../media/image50.png"/><Relationship Id="rId5" Type="http://schemas.openxmlformats.org/officeDocument/2006/relationships/image" Target="../media/image51.emf"/><Relationship Id="rId10" Type="http://schemas.openxmlformats.org/officeDocument/2006/relationships/image" Target="../media/image43.png"/><Relationship Id="rId4" Type="http://schemas.openxmlformats.org/officeDocument/2006/relationships/image" Target="../media/image44.png"/><Relationship Id="rId9" Type="http://schemas.openxmlformats.org/officeDocument/2006/relationships/image" Target="../media/image49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4.png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50.png"/><Relationship Id="rId4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053611" y="3892526"/>
            <a:ext cx="9193632" cy="2430781"/>
          </a:xfrm>
        </p:spPr>
        <p:txBody>
          <a:bodyPr/>
          <a:lstStyle/>
          <a:p>
            <a:pPr algn="r"/>
            <a:r>
              <a:rPr lang="en-US" dirty="0"/>
              <a:t>Guillermo Best</a:t>
            </a:r>
          </a:p>
          <a:p>
            <a:pPr algn="r"/>
            <a:r>
              <a:rPr lang="en-US" dirty="0"/>
              <a:t>Oscar Sánchez</a:t>
            </a:r>
          </a:p>
          <a:p>
            <a:pPr algn="r"/>
            <a:r>
              <a:rPr lang="en-US" dirty="0"/>
              <a:t>David Rodriguez</a:t>
            </a:r>
          </a:p>
          <a:p>
            <a:pPr algn="r"/>
            <a:r>
              <a:rPr lang="en-US" dirty="0"/>
              <a:t>José Vázquez</a:t>
            </a:r>
          </a:p>
          <a:p>
            <a:pPr algn="r"/>
            <a:r>
              <a:rPr lang="en-US" dirty="0"/>
              <a:t>Francisco Alvarez</a:t>
            </a:r>
          </a:p>
          <a:p>
            <a:pPr algn="r"/>
            <a:r>
              <a:rPr lang="en-US" dirty="0"/>
              <a:t>Stephane </a:t>
            </a:r>
            <a:r>
              <a:rPr lang="en-US" dirty="0" err="1"/>
              <a:t>Duprat</a:t>
            </a:r>
            <a:endParaRPr lang="en-US" dirty="0"/>
          </a:p>
          <a:p>
            <a:endParaRPr lang="en-US" dirty="0"/>
          </a:p>
          <a:p>
            <a:r>
              <a:rPr lang="en-US" dirty="0">
                <a:solidFill>
                  <a:schemeClr val="accent1"/>
                </a:solidFill>
              </a:rPr>
              <a:t>Madrid 14 de </a:t>
            </a:r>
            <a:r>
              <a:rPr lang="en-US" dirty="0" err="1">
                <a:solidFill>
                  <a:schemeClr val="accent1"/>
                </a:solidFill>
              </a:rPr>
              <a:t>enero</a:t>
            </a:r>
            <a:r>
              <a:rPr lang="en-US" dirty="0">
                <a:solidFill>
                  <a:schemeClr val="accent1"/>
                </a:solidFill>
              </a:rPr>
              <a:t> de 2020</a:t>
            </a:r>
          </a:p>
        </p:txBody>
      </p:sp>
      <p:sp>
        <p:nvSpPr>
          <p:cNvPr id="33794" name="Title 3"/>
          <p:cNvSpPr>
            <a:spLocks noGrp="1"/>
          </p:cNvSpPr>
          <p:nvPr>
            <p:ph type="title"/>
          </p:nvPr>
        </p:nvSpPr>
        <p:spPr>
          <a:xfrm>
            <a:off x="1050568" y="2496792"/>
            <a:ext cx="10076344" cy="909981"/>
          </a:xfrm>
        </p:spPr>
        <p:txBody>
          <a:bodyPr/>
          <a:lstStyle/>
          <a:p>
            <a:r>
              <a:rPr lang="en-US" dirty="0"/>
              <a:t>Oracle Database</a:t>
            </a:r>
            <a:br>
              <a:rPr lang="en-US" dirty="0"/>
            </a:br>
            <a:r>
              <a:rPr lang="en-US" dirty="0" err="1"/>
              <a:t>MultiTenant</a:t>
            </a:r>
            <a:r>
              <a:rPr lang="en-US" dirty="0"/>
              <a:t>/</a:t>
            </a:r>
            <a:r>
              <a:rPr lang="en-US"/>
              <a:t>MultiModel</a:t>
            </a:r>
            <a:r>
              <a:rPr lang="en-US" dirty="0"/>
              <a:t>/</a:t>
            </a:r>
            <a:r>
              <a:rPr lang="en-US" dirty="0" err="1"/>
              <a:t>InMemory</a:t>
            </a:r>
            <a:endParaRPr lang="en-US" altLang="en-US" dirty="0"/>
          </a:p>
        </p:txBody>
      </p:sp>
      <p:sp>
        <p:nvSpPr>
          <p:cNvPr id="4" name="Subtitle 3"/>
          <p:cNvSpPr>
            <a:spLocks noGrp="1"/>
          </p:cNvSpPr>
          <p:nvPr>
            <p:ph type="body" sz="quarter" idx="15"/>
          </p:nvPr>
        </p:nvSpPr>
        <p:spPr>
          <a:xfrm>
            <a:off x="1050568" y="3621804"/>
            <a:ext cx="10076344" cy="416073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Workshop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0B6A70-2A6A-1347-A9E2-008B4BB10FC6}"/>
              </a:ext>
            </a:extLst>
          </p:cNvPr>
          <p:cNvSpPr txBox="1"/>
          <p:nvPr/>
        </p:nvSpPr>
        <p:spPr>
          <a:xfrm>
            <a:off x="1965855" y="413173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DF8DCAA-80C9-5E42-B542-27DF1ECF232D}"/>
              </a:ext>
            </a:extLst>
          </p:cNvPr>
          <p:cNvSpPr txBox="1"/>
          <p:nvPr/>
        </p:nvSpPr>
        <p:spPr>
          <a:xfrm>
            <a:off x="603167" y="401854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827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 Many Databases as On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5F5F5F"/>
                </a:solidFill>
              </a:rPr>
              <a:t>Backup databases as one; recover at pluggable database Level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1580192" y="1828801"/>
            <a:ext cx="4026891" cy="4027940"/>
            <a:chOff x="227012" y="1676400"/>
            <a:chExt cx="4026891" cy="4027940"/>
          </a:xfrm>
        </p:grpSpPr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7012" y="1676400"/>
              <a:ext cx="4026891" cy="4027940"/>
            </a:xfrm>
            <a:prstGeom prst="rect">
              <a:avLst/>
            </a:prstGeom>
          </p:spPr>
        </p:pic>
        <p:sp>
          <p:nvSpPr>
            <p:cNvPr id="40" name="Oval 39"/>
            <p:cNvSpPr/>
            <p:nvPr/>
          </p:nvSpPr>
          <p:spPr>
            <a:xfrm>
              <a:off x="756770" y="3682221"/>
              <a:ext cx="165774" cy="165817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41" name="Oval 40"/>
            <p:cNvSpPr/>
            <p:nvPr/>
          </p:nvSpPr>
          <p:spPr>
            <a:xfrm>
              <a:off x="3515222" y="3682221"/>
              <a:ext cx="165774" cy="165817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46" name="Oval 45"/>
            <p:cNvSpPr/>
            <p:nvPr/>
          </p:nvSpPr>
          <p:spPr>
            <a:xfrm>
              <a:off x="2139302" y="3682221"/>
              <a:ext cx="165774" cy="165817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421992" y="2170236"/>
              <a:ext cx="866362" cy="3618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/>
                <a:t>GL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1797914" y="2170236"/>
              <a:ext cx="866362" cy="3618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/>
                <a:t>OE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3148579" y="2174866"/>
              <a:ext cx="866362" cy="3618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/>
                <a:t>AP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732592" y="4114800"/>
            <a:ext cx="6786887" cy="1676400"/>
            <a:chOff x="836612" y="4114800"/>
            <a:chExt cx="6786887" cy="1676400"/>
          </a:xfrm>
        </p:grpSpPr>
        <p:grpSp>
          <p:nvGrpSpPr>
            <p:cNvPr id="27" name="Group 26"/>
            <p:cNvGrpSpPr/>
            <p:nvPr/>
          </p:nvGrpSpPr>
          <p:grpSpPr>
            <a:xfrm>
              <a:off x="1293810" y="4114800"/>
              <a:ext cx="6329689" cy="1676400"/>
              <a:chOff x="1293810" y="4114800"/>
              <a:chExt cx="6329689" cy="1676400"/>
            </a:xfrm>
          </p:grpSpPr>
          <p:sp>
            <p:nvSpPr>
              <p:cNvPr id="77" name="Rectangle 76"/>
              <p:cNvSpPr/>
              <p:nvPr/>
            </p:nvSpPr>
            <p:spPr>
              <a:xfrm>
                <a:off x="1827212" y="5266283"/>
                <a:ext cx="5796287" cy="415476"/>
              </a:xfrm>
              <a:prstGeom prst="rect">
                <a:avLst/>
              </a:prstGeom>
            </p:spPr>
            <p:txBody>
              <a:bodyPr wrap="square" lIns="121899" tIns="60949" rIns="121899" bIns="60949">
                <a:spAutoFit/>
              </a:bodyPr>
              <a:lstStyle/>
              <a:p>
                <a:pPr lvl="0" algn="ctr" eaLnBrk="0" fontAlgn="base" hangingPunct="0">
                  <a:spcBef>
                    <a:spcPct val="0"/>
                  </a:spcBef>
                  <a:defRPr/>
                </a:pPr>
                <a:r>
                  <a:rPr lang="en-US" sz="1900" kern="0" dirty="0"/>
                  <a:t>Point-in-time recovery at pluggable database level</a:t>
                </a:r>
              </a:p>
            </p:txBody>
          </p:sp>
          <p:cxnSp>
            <p:nvCxnSpPr>
              <p:cNvPr id="63" name="Elbow Connector 62"/>
              <p:cNvCxnSpPr/>
              <p:nvPr/>
            </p:nvCxnSpPr>
            <p:spPr>
              <a:xfrm rot="10800000">
                <a:off x="1293810" y="4114800"/>
                <a:ext cx="6096002" cy="1676400"/>
              </a:xfrm>
              <a:prstGeom prst="bentConnector3">
                <a:avLst>
                  <a:gd name="adj1" fmla="val 99885"/>
                </a:avLst>
              </a:prstGeom>
              <a:ln w="203200">
                <a:solidFill>
                  <a:schemeClr val="accent1"/>
                </a:solidFill>
                <a:miter lim="800000"/>
                <a:tailEnd type="triangl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" name="Group 2"/>
            <p:cNvGrpSpPr/>
            <p:nvPr/>
          </p:nvGrpSpPr>
          <p:grpSpPr>
            <a:xfrm>
              <a:off x="836612" y="4495800"/>
              <a:ext cx="889000" cy="736600"/>
              <a:chOff x="608012" y="4495800"/>
              <a:chExt cx="889000" cy="736600"/>
            </a:xfrm>
          </p:grpSpPr>
          <p:pic>
            <p:nvPicPr>
              <p:cNvPr id="2" name="Picture 1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08012" y="4495800"/>
                <a:ext cx="660400" cy="660400"/>
              </a:xfrm>
              <a:prstGeom prst="rect">
                <a:avLst/>
              </a:prstGeom>
            </p:spPr>
          </p:pic>
          <p:pic>
            <p:nvPicPr>
              <p:cNvPr id="25" name="Picture 24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41412" y="4876800"/>
                <a:ext cx="355600" cy="355600"/>
              </a:xfrm>
              <a:prstGeom prst="rect">
                <a:avLst/>
              </a:prstGeom>
            </p:spPr>
          </p:pic>
        </p:grpSp>
      </p:grpSp>
      <p:grpSp>
        <p:nvGrpSpPr>
          <p:cNvPr id="6" name="Group 5"/>
          <p:cNvGrpSpPr/>
          <p:nvPr/>
        </p:nvGrpSpPr>
        <p:grpSpPr>
          <a:xfrm>
            <a:off x="5748560" y="3048001"/>
            <a:ext cx="3014441" cy="1536195"/>
            <a:chOff x="4852581" y="3048000"/>
            <a:chExt cx="3014441" cy="1536194"/>
          </a:xfrm>
        </p:grpSpPr>
        <p:sp>
          <p:nvSpPr>
            <p:cNvPr id="15" name="Right Arrow 14"/>
            <p:cNvSpPr/>
            <p:nvPr/>
          </p:nvSpPr>
          <p:spPr>
            <a:xfrm>
              <a:off x="4852581" y="3174905"/>
              <a:ext cx="3014441" cy="1409289"/>
            </a:xfrm>
            <a:prstGeom prst="rightArrow">
              <a:avLst>
                <a:gd name="adj1" fmla="val 52677"/>
                <a:gd name="adj2" fmla="val 52703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899" tIns="60949" rIns="121899" bIns="60949" rtlCol="0" anchor="ctr"/>
            <a:lstStyle/>
            <a:p>
              <a:pPr algn="ctr"/>
              <a:endParaRPr lang="en-US"/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5332412" y="3048000"/>
              <a:ext cx="1295400" cy="3810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dirty="0"/>
                <a:t>One Backup</a:t>
              </a:r>
            </a:p>
          </p:txBody>
        </p:sp>
      </p:grpSp>
      <p:pic>
        <p:nvPicPr>
          <p:cNvPr id="28" name="Pictur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86703" y="2689127"/>
            <a:ext cx="1201408" cy="858520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50612" y="2689127"/>
            <a:ext cx="1201408" cy="858520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84577" y="2684496"/>
            <a:ext cx="1201408" cy="85852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13984" y="1855304"/>
            <a:ext cx="1440815" cy="437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886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 Many Databases as One with Multitena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ne standby database covers all pluggable database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9637" y="2830061"/>
            <a:ext cx="4026891" cy="4027940"/>
          </a:xfrm>
          <a:prstGeom prst="rect">
            <a:avLst/>
          </a:prstGeom>
        </p:spPr>
      </p:pic>
      <p:sp>
        <p:nvSpPr>
          <p:cNvPr id="10" name="Oval 9"/>
          <p:cNvSpPr/>
          <p:nvPr/>
        </p:nvSpPr>
        <p:spPr>
          <a:xfrm>
            <a:off x="1179394" y="4835883"/>
            <a:ext cx="165774" cy="165817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3937846" y="4835883"/>
            <a:ext cx="165774" cy="165817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2561926" y="4835883"/>
            <a:ext cx="165774" cy="165817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88041" y="2817232"/>
            <a:ext cx="4026891" cy="4027940"/>
          </a:xfrm>
          <a:prstGeom prst="rect">
            <a:avLst/>
          </a:prstGeom>
        </p:spPr>
      </p:pic>
      <p:sp>
        <p:nvSpPr>
          <p:cNvPr id="19" name="Oval 18"/>
          <p:cNvSpPr/>
          <p:nvPr/>
        </p:nvSpPr>
        <p:spPr>
          <a:xfrm>
            <a:off x="8024200" y="4819585"/>
            <a:ext cx="165774" cy="165817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21" name="Oval 20"/>
          <p:cNvSpPr/>
          <p:nvPr/>
        </p:nvSpPr>
        <p:spPr>
          <a:xfrm>
            <a:off x="9406732" y="4819585"/>
            <a:ext cx="165774" cy="165817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967959" y="5312323"/>
            <a:ext cx="3324814" cy="36818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Primary Container Databas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44616" y="3323897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G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220538" y="3323897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O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571203" y="3328527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AP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689422" y="3323897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GL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9065343" y="3323897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OE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987425" y="5318737"/>
            <a:ext cx="2976248" cy="36818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Standby Container Database</a:t>
            </a: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6148" y="3664333"/>
            <a:ext cx="1201408" cy="858520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07465" y="3690387"/>
            <a:ext cx="1201408" cy="858520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98196" y="3685756"/>
            <a:ext cx="1201408" cy="858520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53714" y="3651407"/>
            <a:ext cx="1511353" cy="1073563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54192" y="3664333"/>
            <a:ext cx="1201408" cy="858520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11655" y="3664333"/>
            <a:ext cx="1201408" cy="858520"/>
          </a:xfrm>
          <a:prstGeom prst="rect">
            <a:avLst/>
          </a:prstGeom>
        </p:spPr>
      </p:pic>
      <p:pic>
        <p:nvPicPr>
          <p:cNvPr id="29" name="Picture 28" descr="Binary Text Arrow.png"/>
          <p:cNvPicPr>
            <a:picLocks noChangeAspect="1"/>
          </p:cNvPicPr>
          <p:nvPr/>
        </p:nvPicPr>
        <p:blipFill>
          <a:blip r:embed="rId6" cstate="print">
            <a:alphaModFix amt="6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8973" y="4166345"/>
            <a:ext cx="2839200" cy="1509639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54198" y="3688456"/>
            <a:ext cx="1201408" cy="858520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10426575" y="3320581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AP</a:t>
            </a:r>
          </a:p>
        </p:txBody>
      </p:sp>
      <p:sp>
        <p:nvSpPr>
          <p:cNvPr id="32" name="Oval 31"/>
          <p:cNvSpPr/>
          <p:nvPr/>
        </p:nvSpPr>
        <p:spPr>
          <a:xfrm>
            <a:off x="10777135" y="4821523"/>
            <a:ext cx="165774" cy="165817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403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25" grpId="0"/>
      <p:bldP spid="31" grpId="0"/>
      <p:bldP spid="3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27212" y="2067591"/>
            <a:ext cx="6137581" cy="6139180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76629" y="3359913"/>
            <a:ext cx="1808468" cy="1292321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68002" y="3359914"/>
            <a:ext cx="1808468" cy="1292321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52866" y="3359914"/>
            <a:ext cx="1808468" cy="12923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plified Patching and Upgrad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pply changes once, all pluggable databases updated</a:t>
            </a:r>
          </a:p>
        </p:txBody>
      </p:sp>
      <p:sp>
        <p:nvSpPr>
          <p:cNvPr id="10" name="Oval 9"/>
          <p:cNvSpPr/>
          <p:nvPr/>
        </p:nvSpPr>
        <p:spPr>
          <a:xfrm>
            <a:off x="3834642" y="5124762"/>
            <a:ext cx="252664" cy="252729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5941825" y="5124762"/>
            <a:ext cx="252664" cy="252729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8038933" y="5124762"/>
            <a:ext cx="252664" cy="252729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3489842" y="2841768"/>
            <a:ext cx="933765" cy="51814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600" dirty="0"/>
              <a:t>G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599583" y="2841768"/>
            <a:ext cx="933765" cy="51814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600" dirty="0"/>
              <a:t>O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35219" y="2841768"/>
            <a:ext cx="933765" cy="51814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600" dirty="0"/>
              <a:t>AP</a:t>
            </a:r>
          </a:p>
        </p:txBody>
      </p:sp>
      <p:grpSp>
        <p:nvGrpSpPr>
          <p:cNvPr id="17" name="Group 34"/>
          <p:cNvGrpSpPr/>
          <p:nvPr/>
        </p:nvGrpSpPr>
        <p:grpSpPr>
          <a:xfrm>
            <a:off x="762863" y="5079448"/>
            <a:ext cx="2266511" cy="557355"/>
            <a:chOff x="4222638" y="1216025"/>
            <a:chExt cx="1700326" cy="418016"/>
          </a:xfrm>
        </p:grpSpPr>
        <p:sp>
          <p:nvSpPr>
            <p:cNvPr id="18" name="TextBox 17"/>
            <p:cNvSpPr txBox="1"/>
            <p:nvPr/>
          </p:nvSpPr>
          <p:spPr>
            <a:xfrm>
              <a:off x="4222638" y="1216025"/>
              <a:ext cx="1354790" cy="3764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defTabSz="9144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000" b="1" kern="0">
                  <a:gradFill>
                    <a:gsLst>
                      <a:gs pos="0">
                        <a:sysClr val="window" lastClr="FFFFFF"/>
                      </a:gs>
                      <a:gs pos="100000">
                        <a:sysClr val="window" lastClr="FFFFFF">
                          <a:lumMod val="85000"/>
                        </a:sysClr>
                      </a:gs>
                    </a:gsLst>
                    <a:lin ang="5400000" scaled="0"/>
                  </a:gradFill>
                  <a:latin typeface="Arial"/>
                  <a:ea typeface="MS PGothic" pitchFamily="34" charset="-128"/>
                  <a:cs typeface="ＭＳ Ｐゴシック" pitchFamily="-111" charset="-128"/>
                </a:defRPr>
              </a:lvl1pPr>
            </a:lstStyle>
            <a:p>
              <a:pPr defTabSz="1218987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en-US" b="0" dirty="0">
                  <a:solidFill>
                    <a:schemeClr val="tx1"/>
                  </a:solidFill>
                  <a:latin typeface="+mn-lt"/>
                </a:rPr>
                <a:t>In-place</a:t>
              </a:r>
            </a:p>
          </p:txBody>
        </p:sp>
        <p:grpSp>
          <p:nvGrpSpPr>
            <p:cNvPr id="19" name="Group 73"/>
            <p:cNvGrpSpPr/>
            <p:nvPr/>
          </p:nvGrpSpPr>
          <p:grpSpPr>
            <a:xfrm>
              <a:off x="5401677" y="1225550"/>
              <a:ext cx="521287" cy="408491"/>
              <a:chOff x="6900659" y="1932457"/>
              <a:chExt cx="521287" cy="408491"/>
            </a:xfrm>
          </p:grpSpPr>
          <p:sp>
            <p:nvSpPr>
              <p:cNvPr id="20" name="AutoShape 11"/>
              <p:cNvSpPr>
                <a:spLocks noChangeAspect="1" noChangeArrowheads="1"/>
              </p:cNvSpPr>
              <p:nvPr/>
            </p:nvSpPr>
            <p:spPr bwMode="gray">
              <a:xfrm>
                <a:off x="7136673" y="1932457"/>
                <a:ext cx="285273" cy="408491"/>
              </a:xfrm>
              <a:prstGeom prst="chevron">
                <a:avLst>
                  <a:gd name="adj" fmla="val 48446"/>
                </a:avLst>
              </a:prstGeom>
              <a:solidFill>
                <a:schemeClr val="tx1">
                  <a:lumMod val="75000"/>
                  <a:lumOff val="25000"/>
                </a:schemeClr>
              </a:solidFill>
              <a:ln w="50800">
                <a:noFill/>
              </a:ln>
            </p:spPr>
            <p:txBody>
              <a:bodyPr wrap="none" lIns="45681" tIns="22839" rIns="45681" bIns="22839" anchor="ctr"/>
              <a:lstStyle/>
              <a:p>
                <a:pPr defTabSz="60906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ea typeface="MS PGothic" pitchFamily="34" charset="-128"/>
                  <a:cs typeface="Arial" pitchFamily="34" charset="0"/>
                </a:endParaRPr>
              </a:p>
            </p:txBody>
          </p:sp>
          <p:sp>
            <p:nvSpPr>
              <p:cNvPr id="21" name="Rectangle 20"/>
              <p:cNvSpPr/>
              <p:nvPr/>
            </p:nvSpPr>
            <p:spPr>
              <a:xfrm flipH="1">
                <a:off x="6900659" y="2037706"/>
                <a:ext cx="410336" cy="197996"/>
              </a:xfrm>
              <a:prstGeom prst="rect">
                <a:avLst/>
              </a:prstGeom>
              <a:gradFill flip="none" rotWithShape="1">
                <a:gsLst>
                  <a:gs pos="45000">
                    <a:schemeClr val="tx1">
                      <a:lumMod val="75000"/>
                      <a:lumOff val="25000"/>
                    </a:schemeClr>
                  </a:gs>
                  <a:gs pos="100000">
                    <a:srgbClr val="FFFFFF">
                      <a:alpha val="0"/>
                    </a:srgbClr>
                  </a:gs>
                </a:gsLst>
                <a:lin ang="0" scaled="1"/>
                <a:tileRect/>
              </a:gradFill>
              <a:ln w="50800">
                <a:noFill/>
              </a:ln>
            </p:spPr>
            <p:txBody>
              <a:bodyPr wrap="none" lIns="45681" tIns="22839" rIns="45681" bIns="22839" anchor="ctr"/>
              <a:lstStyle/>
              <a:p>
                <a:pPr defTabSz="60906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ea typeface="MS PGothic" pitchFamily="34" charset="-128"/>
                  <a:cs typeface="Arial" pitchFamily="34" charset="0"/>
                </a:endParaRPr>
              </a:p>
            </p:txBody>
          </p:sp>
        </p:grpSp>
      </p:grpSp>
      <p:grpSp>
        <p:nvGrpSpPr>
          <p:cNvPr id="28" name="Group 27"/>
          <p:cNvGrpSpPr/>
          <p:nvPr/>
        </p:nvGrpSpPr>
        <p:grpSpPr>
          <a:xfrm>
            <a:off x="3712848" y="3974234"/>
            <a:ext cx="4766305" cy="362277"/>
            <a:chOff x="2755493" y="2574910"/>
            <a:chExt cx="3575660" cy="271708"/>
          </a:xfrm>
        </p:grpSpPr>
        <p:sp>
          <p:nvSpPr>
            <p:cNvPr id="22" name="TextBox 21"/>
            <p:cNvSpPr txBox="1"/>
            <p:nvPr/>
          </p:nvSpPr>
          <p:spPr>
            <a:xfrm>
              <a:off x="2755493" y="2574910"/>
              <a:ext cx="441838" cy="2717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12c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4328722" y="2574910"/>
              <a:ext cx="441838" cy="2717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12c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5889315" y="2574910"/>
              <a:ext cx="441838" cy="2717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12c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712848" y="3974234"/>
            <a:ext cx="4766305" cy="362278"/>
            <a:chOff x="2662190" y="2916124"/>
            <a:chExt cx="3575660" cy="271709"/>
          </a:xfrm>
        </p:grpSpPr>
        <p:sp>
          <p:nvSpPr>
            <p:cNvPr id="25" name="TextBox 24"/>
            <p:cNvSpPr txBox="1"/>
            <p:nvPr/>
          </p:nvSpPr>
          <p:spPr>
            <a:xfrm>
              <a:off x="2662190" y="2916125"/>
              <a:ext cx="441838" cy="2717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19c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229101" y="2916124"/>
              <a:ext cx="441838" cy="2717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19c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796012" y="2916125"/>
              <a:ext cx="441838" cy="2717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19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48460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8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plified Patching and Upgrad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Flexible choice when patching &amp; upgrading database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2611" y="2830061"/>
            <a:ext cx="4026891" cy="4027940"/>
          </a:xfrm>
          <a:prstGeom prst="rect">
            <a:avLst/>
          </a:prstGeom>
        </p:spPr>
      </p:pic>
      <p:sp>
        <p:nvSpPr>
          <p:cNvPr id="10" name="Oval 9"/>
          <p:cNvSpPr/>
          <p:nvPr/>
        </p:nvSpPr>
        <p:spPr>
          <a:xfrm>
            <a:off x="1442368" y="4835883"/>
            <a:ext cx="165774" cy="165817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4200820" y="4835883"/>
            <a:ext cx="165774" cy="165817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2824900" y="4835883"/>
            <a:ext cx="165774" cy="165817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0711" y="2813762"/>
            <a:ext cx="4026891" cy="4027940"/>
          </a:xfrm>
          <a:prstGeom prst="rect">
            <a:avLst/>
          </a:prstGeom>
        </p:spPr>
      </p:pic>
      <p:sp>
        <p:nvSpPr>
          <p:cNvPr id="19" name="Oval 18"/>
          <p:cNvSpPr/>
          <p:nvPr/>
        </p:nvSpPr>
        <p:spPr>
          <a:xfrm>
            <a:off x="7780468" y="4819585"/>
            <a:ext cx="165774" cy="165817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21" name="Oval 20"/>
          <p:cNvSpPr/>
          <p:nvPr/>
        </p:nvSpPr>
        <p:spPr>
          <a:xfrm>
            <a:off x="9163000" y="4819585"/>
            <a:ext cx="165774" cy="165817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499713" y="5318737"/>
            <a:ext cx="4639330" cy="36818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Original Container Database 19.3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107590" y="3323897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G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483512" y="3323897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O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834177" y="3328527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AP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445690" y="3323897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GL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821611" y="3323897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OE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843334" y="5318737"/>
            <a:ext cx="4639330" cy="36818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Upgraded Container Database 19.4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9432" y="3657821"/>
            <a:ext cx="1511353" cy="1073563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9122" y="3664333"/>
            <a:ext cx="1201408" cy="858520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63733" y="3690387"/>
            <a:ext cx="1201408" cy="858520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54464" y="3685756"/>
            <a:ext cx="1201408" cy="858520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63277" y="3657821"/>
            <a:ext cx="1511353" cy="1073563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17166" y="3664333"/>
            <a:ext cx="1201408" cy="858520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4629" y="3664333"/>
            <a:ext cx="1201408" cy="858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139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2.46914E-7 L 0.13906 -0.26698 C 0.16858 -0.3284 0.21198 -0.36142 0.25781 -0.36142 C 0.30972 -0.36142 0.35122 -0.3284 0.38073 -0.26698 L 0.52014 2.46914E-7 " pathEditMode="relative" rAng="0" ptsTypes="FffFF">
                                      <p:cBhvr>
                                        <p:cTn id="16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007" y="-1808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3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46914E-7 L 0.13941 -0.26759 C 0.16858 -0.32809 0.21233 -0.36173 0.25799 -0.36173 C 0.3099 -0.36173 0.35156 -0.32809 0.38073 -0.26759 L 0.52031 2.46914E-7 " pathEditMode="relative" rAng="0" ptsTypes="FffFF">
                                      <p:cBhvr>
                                        <p:cTn id="37" dur="2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007" y="-1808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000"/>
                            </p:stCondLst>
                            <p:childTnLst>
                              <p:par>
                                <p:cTn id="3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000"/>
                            </p:stCondLst>
                            <p:childTnLst>
                              <p:par>
                                <p:cTn id="4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 animBg="1"/>
      <p:bldP spid="19" grpId="0" animBg="1"/>
      <p:bldP spid="21" grpId="0" animBg="1"/>
      <p:bldP spid="23" grpId="0"/>
      <p:bldP spid="24" grpId="0"/>
      <p:bldP spid="26" grpId="0"/>
      <p:bldP spid="2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tenant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sz="half" idx="1"/>
          </p:nvPr>
        </p:nvSpPr>
        <p:spPr>
          <a:xfrm>
            <a:off x="533402" y="3534894"/>
            <a:ext cx="5410199" cy="2482851"/>
          </a:xfrm>
        </p:spPr>
        <p:txBody>
          <a:bodyPr/>
          <a:lstStyle/>
          <a:p>
            <a:pPr marL="285738" indent="-285738">
              <a:buFont typeface="Arial"/>
              <a:buChar char="•"/>
            </a:pPr>
            <a:r>
              <a:rPr lang="en-US" sz="2000" dirty="0"/>
              <a:t>Container managed database virtualization</a:t>
            </a:r>
          </a:p>
          <a:p>
            <a:pPr marL="285738" indent="-285738">
              <a:buFont typeface="Arial"/>
              <a:buChar char="•"/>
            </a:pPr>
            <a:r>
              <a:rPr lang="en-US" sz="2000" dirty="0"/>
              <a:t>Manage Many as one</a:t>
            </a:r>
          </a:p>
          <a:p>
            <a:pPr marL="742919" lvl="1" indent="-285738">
              <a:buFont typeface="Arial"/>
              <a:buChar char="•"/>
            </a:pPr>
            <a:r>
              <a:rPr lang="en-US" sz="1600" dirty="0"/>
              <a:t>Patching, Backup, Security, Online Cloning, Online Relocation</a:t>
            </a:r>
          </a:p>
          <a:p>
            <a:pPr marL="285738" indent="-285738">
              <a:buFont typeface="Arial"/>
              <a:buChar char="•"/>
            </a:pPr>
            <a:r>
              <a:rPr lang="en-US" sz="2000" dirty="0"/>
              <a:t>Software as Service</a:t>
            </a:r>
          </a:p>
          <a:p>
            <a:pPr marL="742919" lvl="1" indent="-285738">
              <a:buFont typeface="Arial"/>
              <a:buChar char="•"/>
            </a:pPr>
            <a:r>
              <a:rPr lang="en-US" sz="1600" dirty="0"/>
              <a:t>Shared metadata, Data location transparency</a:t>
            </a:r>
          </a:p>
          <a:p>
            <a:pPr marL="742919" lvl="1" indent="-285738">
              <a:buFont typeface="Arial"/>
              <a:buChar char="•"/>
            </a:pPr>
            <a:endParaRPr lang="en-US" sz="15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325794" y="6556248"/>
            <a:ext cx="333467" cy="18288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51EAA63-D034-42AE-91FA-B13B9518C7BE}" type="slidenum">
              <a:rPr lang="es-ES" smtClean="0"/>
              <a:pPr/>
              <a:t>14</a:t>
            </a:fld>
            <a:endParaRPr lang="uk-UA" dirty="0"/>
          </a:p>
        </p:txBody>
      </p:sp>
      <p:grpSp>
        <p:nvGrpSpPr>
          <p:cNvPr id="2" name="Group 1"/>
          <p:cNvGrpSpPr/>
          <p:nvPr/>
        </p:nvGrpSpPr>
        <p:grpSpPr>
          <a:xfrm>
            <a:off x="1593295" y="2236713"/>
            <a:ext cx="1709432" cy="1033561"/>
            <a:chOff x="1412360" y="1945097"/>
            <a:chExt cx="3508458" cy="2071712"/>
          </a:xfrm>
        </p:grpSpPr>
        <p:pic>
          <p:nvPicPr>
            <p:cNvPr id="18" name="Picture 17" descr="pdb-down-red-2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2360" y="2590080"/>
              <a:ext cx="1311093" cy="1311093"/>
            </a:xfrm>
            <a:prstGeom prst="rect">
              <a:avLst/>
            </a:prstGeom>
          </p:spPr>
        </p:pic>
        <p:pic>
          <p:nvPicPr>
            <p:cNvPr id="19" name="Picture 18" descr="pdb-down-red-2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29997" y="2578770"/>
              <a:ext cx="1311093" cy="1311093"/>
            </a:xfrm>
            <a:prstGeom prst="rect">
              <a:avLst/>
            </a:prstGeom>
          </p:spPr>
        </p:pic>
        <p:pic>
          <p:nvPicPr>
            <p:cNvPr id="32" name="Picture 31" descr="pdb-container-2hot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30054" y="3628045"/>
              <a:ext cx="3110109" cy="388764"/>
            </a:xfrm>
            <a:prstGeom prst="rect">
              <a:avLst/>
            </a:prstGeom>
          </p:spPr>
        </p:pic>
        <p:pic>
          <p:nvPicPr>
            <p:cNvPr id="33" name="Picture 32" descr="pdb-down-red-2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9725" y="1945097"/>
              <a:ext cx="1311093" cy="1311093"/>
            </a:xfrm>
            <a:prstGeom prst="rect">
              <a:avLst/>
            </a:prstGeom>
          </p:spPr>
        </p:pic>
      </p:grpSp>
      <p:sp>
        <p:nvSpPr>
          <p:cNvPr id="34" name="TextBox 33"/>
          <p:cNvSpPr txBox="1"/>
          <p:nvPr/>
        </p:nvSpPr>
        <p:spPr>
          <a:xfrm>
            <a:off x="7167962" y="1042930"/>
            <a:ext cx="3221833" cy="38768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600" dirty="0"/>
              <a:t>New in 12.2, 18c, 19c</a:t>
            </a:r>
          </a:p>
          <a:p>
            <a:pPr algn="ctr">
              <a:lnSpc>
                <a:spcPct val="90000"/>
              </a:lnSpc>
            </a:pPr>
            <a:endParaRPr lang="en-US" sz="3600" dirty="0"/>
          </a:p>
        </p:txBody>
      </p:sp>
      <p:sp>
        <p:nvSpPr>
          <p:cNvPr id="36" name="Text Placeholder 11"/>
          <p:cNvSpPr txBox="1">
            <a:spLocks/>
          </p:cNvSpPr>
          <p:nvPr/>
        </p:nvSpPr>
        <p:spPr>
          <a:xfrm>
            <a:off x="6488149" y="2671492"/>
            <a:ext cx="5217499" cy="21870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80000"/>
              </a:lnSpc>
              <a:buFont typeface="Arial"/>
              <a:buChar char="•"/>
            </a:pPr>
            <a:endParaRPr lang="en-US" sz="2000" dirty="0"/>
          </a:p>
          <a:p>
            <a:pPr marL="285750" indent="-285750">
              <a:lnSpc>
                <a:spcPct val="80000"/>
              </a:lnSpc>
              <a:buFont typeface="Arial"/>
              <a:buChar char="•"/>
            </a:pPr>
            <a:r>
              <a:rPr lang="en-US" sz="2000" dirty="0"/>
              <a:t>12.2</a:t>
            </a:r>
          </a:p>
          <a:p>
            <a:pPr marL="560070" lvl="1" indent="-285750">
              <a:lnSpc>
                <a:spcPct val="80000"/>
              </a:lnSpc>
              <a:buFont typeface="Arial"/>
              <a:buChar char="•"/>
            </a:pPr>
            <a:r>
              <a:rPr lang="en-US" sz="1600" dirty="0"/>
              <a:t>Online cloning &amp; relocation</a:t>
            </a:r>
          </a:p>
          <a:p>
            <a:pPr marL="560070" lvl="1" indent="-285750">
              <a:lnSpc>
                <a:spcPct val="80000"/>
              </a:lnSpc>
              <a:buFont typeface="Arial"/>
              <a:buChar char="•"/>
            </a:pPr>
            <a:r>
              <a:rPr lang="en-US" sz="1600" dirty="0"/>
              <a:t>Incremental refresh of test/</a:t>
            </a:r>
            <a:r>
              <a:rPr lang="en-US" sz="1600" dirty="0" err="1"/>
              <a:t>dev</a:t>
            </a:r>
            <a:r>
              <a:rPr lang="en-US" sz="1600" dirty="0"/>
              <a:t> master</a:t>
            </a:r>
          </a:p>
          <a:p>
            <a:pPr marL="560070" lvl="1" indent="-285750">
              <a:lnSpc>
                <a:spcPct val="80000"/>
              </a:lnSpc>
              <a:buFont typeface="Arial"/>
              <a:buChar char="•"/>
            </a:pPr>
            <a:r>
              <a:rPr lang="en-US" sz="1600" dirty="0"/>
              <a:t>Application containers</a:t>
            </a:r>
          </a:p>
          <a:p>
            <a:pPr marL="285750" indent="-285750">
              <a:lnSpc>
                <a:spcPct val="80000"/>
              </a:lnSpc>
              <a:buFont typeface="Arial"/>
              <a:buChar char="•"/>
            </a:pPr>
            <a:r>
              <a:rPr lang="en-US" sz="2000" dirty="0"/>
              <a:t>18c</a:t>
            </a:r>
          </a:p>
          <a:p>
            <a:pPr marL="560070" lvl="1" indent="-285750">
              <a:lnSpc>
                <a:spcPct val="80000"/>
              </a:lnSpc>
              <a:buFont typeface="Arial"/>
              <a:buChar char="•"/>
            </a:pPr>
            <a:r>
              <a:rPr lang="en-US" sz="1600" dirty="0"/>
              <a:t>Transportable backups</a:t>
            </a:r>
          </a:p>
          <a:p>
            <a:pPr marL="560070" lvl="1" indent="-285750">
              <a:lnSpc>
                <a:spcPct val="80000"/>
              </a:lnSpc>
              <a:buFont typeface="Arial"/>
              <a:buChar char="•"/>
            </a:pPr>
            <a:r>
              <a:rPr lang="en-US" sz="1600" dirty="0"/>
              <a:t>Snapshot carousel</a:t>
            </a:r>
          </a:p>
          <a:p>
            <a:pPr marL="560070" lvl="1" indent="-285750">
              <a:lnSpc>
                <a:spcPct val="80000"/>
              </a:lnSpc>
              <a:buFont typeface="Arial"/>
              <a:buChar char="•"/>
            </a:pPr>
            <a:r>
              <a:rPr lang="en-US" sz="1600" dirty="0"/>
              <a:t>Refreshable PDB switchover</a:t>
            </a:r>
          </a:p>
          <a:p>
            <a:pPr marL="285750" indent="-285750">
              <a:lnSpc>
                <a:spcPct val="80000"/>
              </a:lnSpc>
              <a:buFont typeface="Arial"/>
              <a:buChar char="•"/>
            </a:pPr>
            <a:r>
              <a:rPr lang="en-US" sz="2000" dirty="0"/>
              <a:t>19c</a:t>
            </a:r>
          </a:p>
          <a:p>
            <a:pPr marL="560070" lvl="1" indent="-285750">
              <a:lnSpc>
                <a:spcPct val="80000"/>
              </a:lnSpc>
              <a:buFont typeface="Arial"/>
              <a:buChar char="•"/>
            </a:pPr>
            <a:r>
              <a:rPr lang="en-US" sz="1600" dirty="0"/>
              <a:t>RAT and ADDM at PDB level</a:t>
            </a:r>
          </a:p>
          <a:p>
            <a:pPr marL="285750" indent="-285750">
              <a:lnSpc>
                <a:spcPct val="80000"/>
              </a:lnSpc>
              <a:buFont typeface="Arial"/>
              <a:buChar char="•"/>
            </a:pPr>
            <a:endParaRPr lang="en-US" sz="2000" dirty="0"/>
          </a:p>
          <a:p>
            <a:pPr marL="285750" indent="-285750">
              <a:lnSpc>
                <a:spcPct val="80000"/>
              </a:lnSpc>
              <a:buFont typeface="Arial"/>
              <a:buChar char="•"/>
            </a:pPr>
            <a:endParaRPr lang="en-US" sz="2000" dirty="0"/>
          </a:p>
        </p:txBody>
      </p:sp>
      <p:sp>
        <p:nvSpPr>
          <p:cNvPr id="3" name="AutoShape 2" descr="http://database.us.oracle.com/pls/htmldb/apex_util.get_blob_file?a=301&amp;s=332461424971504&amp;p=329&amp;d=167019328939228951&amp;i=167014608830228849&amp;p_pk1=98866606263844296376451024587504406705&amp;p_pk2=&amp;p_ck=yHDFMJyvitnS6gFGhE6XKxEBkoWcxYE5eRv6zDhWCUIYF_utPKq3h_uLmwAKww_qe2U4kU8-n4vXuvdsrDKLAQ&amp;p_content_disposition=attachment"/>
          <p:cNvSpPr>
            <a:spLocks noChangeAspect="1" noChangeArrowheads="1"/>
          </p:cNvSpPr>
          <p:nvPr/>
        </p:nvSpPr>
        <p:spPr bwMode="auto">
          <a:xfrm>
            <a:off x="1588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0228" y="1670152"/>
            <a:ext cx="2117521" cy="120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639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8343064" y="2210868"/>
            <a:ext cx="3141790" cy="965552"/>
            <a:chOff x="8525383" y="1973468"/>
            <a:chExt cx="3391193" cy="1160315"/>
          </a:xfrm>
        </p:grpSpPr>
        <p:pic>
          <p:nvPicPr>
            <p:cNvPr id="17" name="Picture 16" descr="plsql-512.png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56261" y="1973468"/>
              <a:ext cx="1160315" cy="1160315"/>
            </a:xfrm>
            <a:prstGeom prst="rect">
              <a:avLst/>
            </a:prstGeom>
          </p:spPr>
        </p:pic>
        <p:pic>
          <p:nvPicPr>
            <p:cNvPr id="18" name="Picture 17" descr="plsql-512.png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40822" y="1973468"/>
              <a:ext cx="1160315" cy="1160315"/>
            </a:xfrm>
            <a:prstGeom prst="rect">
              <a:avLst/>
            </a:prstGeom>
          </p:spPr>
        </p:pic>
        <p:pic>
          <p:nvPicPr>
            <p:cNvPr id="19" name="Picture 18" descr="plsql-512.png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25383" y="1973468"/>
              <a:ext cx="1160315" cy="1160315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8150676" y="1957789"/>
            <a:ext cx="3391193" cy="1160315"/>
            <a:chOff x="8525383" y="1973468"/>
            <a:chExt cx="3391193" cy="1160315"/>
          </a:xfrm>
        </p:grpSpPr>
        <p:pic>
          <p:nvPicPr>
            <p:cNvPr id="12" name="Picture 11" descr="plsql-512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56261" y="1973468"/>
              <a:ext cx="1160315" cy="1160315"/>
            </a:xfrm>
            <a:prstGeom prst="rect">
              <a:avLst/>
            </a:prstGeom>
          </p:spPr>
        </p:pic>
        <p:pic>
          <p:nvPicPr>
            <p:cNvPr id="13" name="Picture 12" descr="plsql-512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40822" y="1973468"/>
              <a:ext cx="1160315" cy="1160315"/>
            </a:xfrm>
            <a:prstGeom prst="rect">
              <a:avLst/>
            </a:prstGeom>
          </p:spPr>
        </p:pic>
        <p:pic>
          <p:nvPicPr>
            <p:cNvPr id="14" name="Picture 13" descr="plsql-512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25383" y="1973468"/>
              <a:ext cx="1160315" cy="1160315"/>
            </a:xfrm>
            <a:prstGeom prst="rect">
              <a:avLst/>
            </a:prstGeom>
          </p:spPr>
        </p:pic>
      </p:grpSp>
      <p:sp>
        <p:nvSpPr>
          <p:cNvPr id="7" name="Content Placeholder 6"/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Application Container comprises</a:t>
            </a:r>
          </a:p>
          <a:p>
            <a:pPr lvl="1"/>
            <a:r>
              <a:rPr lang="en-US" dirty="0"/>
              <a:t>Application Root (Master)</a:t>
            </a:r>
          </a:p>
          <a:p>
            <a:pPr lvl="1"/>
            <a:r>
              <a:rPr lang="en-US" dirty="0"/>
              <a:t>Application PDBs (for each Tenant)</a:t>
            </a:r>
          </a:p>
          <a:p>
            <a:pPr lvl="1"/>
            <a:r>
              <a:rPr lang="en-US" dirty="0"/>
              <a:t>Application Seed (for provisioning)</a:t>
            </a:r>
          </a:p>
          <a:p>
            <a:r>
              <a:rPr lang="en-US" dirty="0"/>
              <a:t>PDBs share application objects</a:t>
            </a:r>
          </a:p>
          <a:p>
            <a:pPr lvl="1"/>
            <a:r>
              <a:rPr lang="en-US" dirty="0"/>
              <a:t>Code, metadata and data</a:t>
            </a:r>
          </a:p>
          <a:p>
            <a:r>
              <a:rPr lang="en-US" dirty="0"/>
              <a:t>Further simplifies management</a:t>
            </a:r>
          </a:p>
          <a:p>
            <a:pPr lvl="1"/>
            <a:r>
              <a:rPr lang="en-US" dirty="0"/>
              <a:t>Apply updates to application container</a:t>
            </a:r>
          </a:p>
          <a:p>
            <a:pPr lvl="1"/>
            <a:r>
              <a:rPr lang="en-US" dirty="0"/>
              <a:t>Sync tenant PDBs from central master</a:t>
            </a:r>
          </a:p>
          <a:p>
            <a:r>
              <a:rPr lang="en-US" dirty="0"/>
              <a:t>Suitable for all applications</a:t>
            </a:r>
          </a:p>
          <a:p>
            <a:pPr lvl="1"/>
            <a:r>
              <a:rPr lang="en-US" dirty="0" err="1"/>
              <a:t>SaaS</a:t>
            </a:r>
            <a:r>
              <a:rPr lang="en-US" dirty="0"/>
              <a:t>, franchise, divisional, etc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lication Container</a:t>
            </a:r>
            <a:endParaRPr lang="en-US" sz="2400" dirty="0">
              <a:solidFill>
                <a:srgbClr val="FF0000"/>
              </a:solidFill>
            </a:endParaRPr>
          </a:p>
        </p:txBody>
      </p:sp>
      <p:pic>
        <p:nvPicPr>
          <p:cNvPr id="9" name="Picture 8" descr="app-cdb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9550" y="1990688"/>
            <a:ext cx="5964077" cy="2813244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7489827" y="2710535"/>
            <a:ext cx="3957781" cy="1632800"/>
            <a:chOff x="7770461" y="374228"/>
            <a:chExt cx="3537492" cy="1461856"/>
          </a:xfrm>
        </p:grpSpPr>
        <p:pic>
          <p:nvPicPr>
            <p:cNvPr id="5" name="Picture 4" descr="pdb-down-red-2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96860" y="374228"/>
              <a:ext cx="1311093" cy="1311093"/>
            </a:xfrm>
            <a:prstGeom prst="rect">
              <a:avLst/>
            </a:prstGeom>
          </p:spPr>
        </p:pic>
        <p:pic>
          <p:nvPicPr>
            <p:cNvPr id="6" name="Picture 5" descr="pdb-down-red-2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70461" y="385538"/>
              <a:ext cx="1311093" cy="1311093"/>
            </a:xfrm>
            <a:prstGeom prst="rect">
              <a:avLst/>
            </a:prstGeom>
          </p:spPr>
        </p:pic>
        <p:pic>
          <p:nvPicPr>
            <p:cNvPr id="8" name="Picture 7" descr="pdb-down-red-2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88098" y="385538"/>
              <a:ext cx="1311093" cy="1311093"/>
            </a:xfrm>
            <a:prstGeom prst="rect">
              <a:avLst/>
            </a:prstGeom>
          </p:spPr>
        </p:pic>
        <p:pic>
          <p:nvPicPr>
            <p:cNvPr id="10" name="Picture 9" descr="pdb-container-3hot-2.png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79445" y="1442892"/>
              <a:ext cx="3145536" cy="3931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76264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tenant for Provision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Fast cloning of PDBs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575906" y="3178455"/>
            <a:ext cx="6678435" cy="2793930"/>
            <a:chOff x="574317" y="3178455"/>
            <a:chExt cx="6678435" cy="2793930"/>
          </a:xfrm>
        </p:grpSpPr>
        <p:sp>
          <p:nvSpPr>
            <p:cNvPr id="76" name="Rounded Rectangle 75"/>
            <p:cNvSpPr/>
            <p:nvPr/>
          </p:nvSpPr>
          <p:spPr>
            <a:xfrm>
              <a:off x="574317" y="3178455"/>
              <a:ext cx="6678435" cy="625537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581396" y="5186825"/>
              <a:ext cx="3936201" cy="785560"/>
              <a:chOff x="581396" y="5186825"/>
              <a:chExt cx="3936201" cy="785560"/>
            </a:xfrm>
          </p:grpSpPr>
          <p:sp>
            <p:nvSpPr>
              <p:cNvPr id="121" name="Rounded Rectangle 120"/>
              <p:cNvSpPr/>
              <p:nvPr/>
            </p:nvSpPr>
            <p:spPr>
              <a:xfrm>
                <a:off x="581396" y="5346848"/>
                <a:ext cx="3936201" cy="625537"/>
              </a:xfrm>
              <a:prstGeom prst="roundRect">
                <a:avLst/>
              </a:prstGeom>
              <a:solidFill>
                <a:schemeClr val="bg1">
                  <a:lumMod val="50000"/>
                </a:schemeClr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2" name="Rectangle 121"/>
              <p:cNvSpPr/>
              <p:nvPr/>
            </p:nvSpPr>
            <p:spPr>
              <a:xfrm>
                <a:off x="906916" y="5186825"/>
                <a:ext cx="505215" cy="276718"/>
              </a:xfrm>
              <a:prstGeom prst="rect">
                <a:avLst/>
              </a:prstGeom>
              <a:solidFill>
                <a:srgbClr val="7F7F7F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/>
              </a:p>
            </p:txBody>
          </p:sp>
          <p:grpSp>
            <p:nvGrpSpPr>
              <p:cNvPr id="123" name="Group 122"/>
              <p:cNvGrpSpPr/>
              <p:nvPr/>
            </p:nvGrpSpPr>
            <p:grpSpPr>
              <a:xfrm>
                <a:off x="967478" y="5470869"/>
                <a:ext cx="378091" cy="379834"/>
                <a:chOff x="960399" y="3909432"/>
                <a:chExt cx="378091" cy="379834"/>
              </a:xfrm>
            </p:grpSpPr>
            <p:sp>
              <p:nvSpPr>
                <p:cNvPr id="124" name="Oval 123"/>
                <p:cNvSpPr/>
                <p:nvPr/>
              </p:nvSpPr>
              <p:spPr>
                <a:xfrm>
                  <a:off x="960399" y="3909432"/>
                  <a:ext cx="378091" cy="379834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/>
                </a:p>
              </p:txBody>
            </p:sp>
            <p:sp>
              <p:nvSpPr>
                <p:cNvPr id="125" name="Oval 124"/>
                <p:cNvSpPr/>
                <p:nvPr/>
              </p:nvSpPr>
              <p:spPr>
                <a:xfrm>
                  <a:off x="1071974" y="4017541"/>
                  <a:ext cx="165774" cy="165817"/>
                </a:xfrm>
                <a:prstGeom prst="ellipse">
                  <a:avLst/>
                </a:prstGeom>
                <a:solidFill>
                  <a:schemeClr val="bg2">
                    <a:lumMod val="90000"/>
                  </a:schemeClr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/>
                </a:p>
              </p:txBody>
            </p:sp>
          </p:grpSp>
          <p:grpSp>
            <p:nvGrpSpPr>
              <p:cNvPr id="129" name="Group 128"/>
              <p:cNvGrpSpPr/>
              <p:nvPr/>
            </p:nvGrpSpPr>
            <p:grpSpPr>
              <a:xfrm>
                <a:off x="2351778" y="5470869"/>
                <a:ext cx="378091" cy="379834"/>
                <a:chOff x="960399" y="3909432"/>
                <a:chExt cx="378091" cy="379834"/>
              </a:xfrm>
            </p:grpSpPr>
            <p:sp>
              <p:nvSpPr>
                <p:cNvPr id="130" name="Oval 129"/>
                <p:cNvSpPr/>
                <p:nvPr/>
              </p:nvSpPr>
              <p:spPr>
                <a:xfrm>
                  <a:off x="960399" y="3909432"/>
                  <a:ext cx="378091" cy="379834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/>
                </a:p>
              </p:txBody>
            </p:sp>
            <p:sp>
              <p:nvSpPr>
                <p:cNvPr id="131" name="Oval 130"/>
                <p:cNvSpPr/>
                <p:nvPr/>
              </p:nvSpPr>
              <p:spPr>
                <a:xfrm>
                  <a:off x="1071974" y="4017541"/>
                  <a:ext cx="165774" cy="165817"/>
                </a:xfrm>
                <a:prstGeom prst="ellipse">
                  <a:avLst/>
                </a:prstGeom>
                <a:solidFill>
                  <a:schemeClr val="bg2">
                    <a:lumMod val="90000"/>
                  </a:schemeClr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/>
                </a:p>
              </p:txBody>
            </p:sp>
          </p:grpSp>
          <p:sp>
            <p:nvSpPr>
              <p:cNvPr id="132" name="Rectangle 131"/>
              <p:cNvSpPr/>
              <p:nvPr/>
            </p:nvSpPr>
            <p:spPr>
              <a:xfrm>
                <a:off x="2297706" y="5187579"/>
                <a:ext cx="505215" cy="276718"/>
              </a:xfrm>
              <a:prstGeom prst="rect">
                <a:avLst/>
              </a:prstGeom>
              <a:solidFill>
                <a:srgbClr val="7F7F7F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/>
              </a:p>
            </p:txBody>
          </p:sp>
        </p:grpSp>
      </p:grpSp>
      <p:grpSp>
        <p:nvGrpSpPr>
          <p:cNvPr id="45" name="Group 44"/>
          <p:cNvGrpSpPr/>
          <p:nvPr/>
        </p:nvGrpSpPr>
        <p:grpSpPr>
          <a:xfrm>
            <a:off x="955118" y="3032753"/>
            <a:ext cx="402793" cy="267848"/>
            <a:chOff x="4576471" y="4579750"/>
            <a:chExt cx="465024" cy="307884"/>
          </a:xfrm>
        </p:grpSpPr>
        <p:sp>
          <p:nvSpPr>
            <p:cNvPr id="54" name="Rounded Rectangle 53"/>
            <p:cNvSpPr/>
            <p:nvPr/>
          </p:nvSpPr>
          <p:spPr>
            <a:xfrm>
              <a:off x="4576471" y="4579751"/>
              <a:ext cx="465023" cy="307883"/>
            </a:xfrm>
            <a:prstGeom prst="roundRect">
              <a:avLst/>
            </a:prstGeom>
            <a:solidFill>
              <a:schemeClr val="tx1">
                <a:lumMod val="60000"/>
                <a:lumOff val="40000"/>
              </a:scheme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55" name="Rectangle 54"/>
            <p:cNvSpPr/>
            <p:nvPr/>
          </p:nvSpPr>
          <p:spPr>
            <a:xfrm>
              <a:off x="4576472" y="4579750"/>
              <a:ext cx="465023" cy="5772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56" name="Rounded Rectangle 55"/>
            <p:cNvSpPr/>
            <p:nvPr/>
          </p:nvSpPr>
          <p:spPr>
            <a:xfrm>
              <a:off x="4647313" y="4708352"/>
              <a:ext cx="132025" cy="94311"/>
            </a:xfrm>
            <a:prstGeom prst="roundRect">
              <a:avLst/>
            </a:prstGeom>
            <a:solidFill>
              <a:schemeClr val="bg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57" name="Rounded Rectangle 56"/>
            <p:cNvSpPr/>
            <p:nvPr/>
          </p:nvSpPr>
          <p:spPr>
            <a:xfrm>
              <a:off x="4834227" y="4709854"/>
              <a:ext cx="132025" cy="94311"/>
            </a:xfrm>
            <a:prstGeom prst="roundRect">
              <a:avLst/>
            </a:prstGeom>
            <a:solidFill>
              <a:schemeClr val="bg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3710664" y="3030332"/>
            <a:ext cx="402793" cy="267848"/>
            <a:chOff x="4576471" y="4579750"/>
            <a:chExt cx="465024" cy="307884"/>
          </a:xfrm>
        </p:grpSpPr>
        <p:sp>
          <p:nvSpPr>
            <p:cNvPr id="59" name="Rounded Rectangle 58"/>
            <p:cNvSpPr/>
            <p:nvPr/>
          </p:nvSpPr>
          <p:spPr>
            <a:xfrm>
              <a:off x="4576471" y="4579751"/>
              <a:ext cx="465023" cy="307883"/>
            </a:xfrm>
            <a:prstGeom prst="roundRect">
              <a:avLst/>
            </a:prstGeom>
            <a:solidFill>
              <a:schemeClr val="tx1">
                <a:lumMod val="60000"/>
                <a:lumOff val="40000"/>
              </a:scheme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60" name="Rectangle 59"/>
            <p:cNvSpPr/>
            <p:nvPr/>
          </p:nvSpPr>
          <p:spPr>
            <a:xfrm>
              <a:off x="4576472" y="4579750"/>
              <a:ext cx="465023" cy="5772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61" name="Rounded Rectangle 60"/>
            <p:cNvSpPr/>
            <p:nvPr/>
          </p:nvSpPr>
          <p:spPr>
            <a:xfrm>
              <a:off x="4647313" y="4708352"/>
              <a:ext cx="132025" cy="94311"/>
            </a:xfrm>
            <a:prstGeom prst="roundRect">
              <a:avLst/>
            </a:prstGeom>
            <a:solidFill>
              <a:schemeClr val="bg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62" name="Rounded Rectangle 61"/>
            <p:cNvSpPr/>
            <p:nvPr/>
          </p:nvSpPr>
          <p:spPr>
            <a:xfrm>
              <a:off x="4834227" y="4709854"/>
              <a:ext cx="132025" cy="94311"/>
            </a:xfrm>
            <a:prstGeom prst="roundRect">
              <a:avLst/>
            </a:prstGeom>
            <a:solidFill>
              <a:schemeClr val="bg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3705867" y="5195963"/>
            <a:ext cx="402793" cy="267848"/>
            <a:chOff x="4576471" y="4579750"/>
            <a:chExt cx="465024" cy="307884"/>
          </a:xfrm>
        </p:grpSpPr>
        <p:sp>
          <p:nvSpPr>
            <p:cNvPr id="69" name="Rounded Rectangle 68"/>
            <p:cNvSpPr/>
            <p:nvPr/>
          </p:nvSpPr>
          <p:spPr>
            <a:xfrm>
              <a:off x="4576471" y="4579751"/>
              <a:ext cx="465023" cy="307883"/>
            </a:xfrm>
            <a:prstGeom prst="roundRect">
              <a:avLst/>
            </a:prstGeom>
            <a:solidFill>
              <a:schemeClr val="tx1">
                <a:lumMod val="60000"/>
                <a:lumOff val="40000"/>
              </a:scheme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4576472" y="4579750"/>
              <a:ext cx="465023" cy="5772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71" name="Rounded Rectangle 70"/>
            <p:cNvSpPr/>
            <p:nvPr/>
          </p:nvSpPr>
          <p:spPr>
            <a:xfrm>
              <a:off x="4647313" y="4708352"/>
              <a:ext cx="132025" cy="94311"/>
            </a:xfrm>
            <a:prstGeom prst="roundRect">
              <a:avLst/>
            </a:prstGeom>
            <a:solidFill>
              <a:schemeClr val="bg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72" name="Rounded Rectangle 71"/>
            <p:cNvSpPr/>
            <p:nvPr/>
          </p:nvSpPr>
          <p:spPr>
            <a:xfrm>
              <a:off x="4834227" y="4709854"/>
              <a:ext cx="132025" cy="94311"/>
            </a:xfrm>
            <a:prstGeom prst="roundRect">
              <a:avLst/>
            </a:prstGeom>
            <a:solidFill>
              <a:schemeClr val="bg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6478849" y="5176252"/>
            <a:ext cx="402793" cy="267848"/>
            <a:chOff x="4576471" y="4579750"/>
            <a:chExt cx="465024" cy="307884"/>
          </a:xfrm>
        </p:grpSpPr>
        <p:sp>
          <p:nvSpPr>
            <p:cNvPr id="64" name="Rounded Rectangle 63"/>
            <p:cNvSpPr/>
            <p:nvPr/>
          </p:nvSpPr>
          <p:spPr>
            <a:xfrm>
              <a:off x="4576471" y="4579751"/>
              <a:ext cx="465023" cy="307883"/>
            </a:xfrm>
            <a:prstGeom prst="roundRect">
              <a:avLst/>
            </a:prstGeom>
            <a:solidFill>
              <a:schemeClr val="tx1">
                <a:lumMod val="60000"/>
                <a:lumOff val="40000"/>
              </a:scheme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4576472" y="4579750"/>
              <a:ext cx="465023" cy="5772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66" name="Rounded Rectangle 65"/>
            <p:cNvSpPr/>
            <p:nvPr/>
          </p:nvSpPr>
          <p:spPr>
            <a:xfrm>
              <a:off x="4647313" y="4708352"/>
              <a:ext cx="132025" cy="94311"/>
            </a:xfrm>
            <a:prstGeom prst="roundRect">
              <a:avLst/>
            </a:prstGeom>
            <a:solidFill>
              <a:schemeClr val="bg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67" name="Rounded Rectangle 66"/>
            <p:cNvSpPr/>
            <p:nvPr/>
          </p:nvSpPr>
          <p:spPr>
            <a:xfrm>
              <a:off x="4834227" y="4709854"/>
              <a:ext cx="132025" cy="94311"/>
            </a:xfrm>
            <a:prstGeom prst="roundRect">
              <a:avLst/>
            </a:prstGeom>
            <a:solidFill>
              <a:schemeClr val="bg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906833" y="3017732"/>
            <a:ext cx="6006105" cy="2930466"/>
            <a:chOff x="905244" y="3017732"/>
            <a:chExt cx="6006105" cy="2930466"/>
          </a:xfrm>
        </p:grpSpPr>
        <p:grpSp>
          <p:nvGrpSpPr>
            <p:cNvPr id="14" name="Group 13"/>
            <p:cNvGrpSpPr/>
            <p:nvPr/>
          </p:nvGrpSpPr>
          <p:grpSpPr>
            <a:xfrm>
              <a:off x="6406134" y="3021450"/>
              <a:ext cx="505215" cy="763561"/>
              <a:chOff x="6406134" y="3021450"/>
              <a:chExt cx="505215" cy="763561"/>
            </a:xfrm>
          </p:grpSpPr>
          <p:sp>
            <p:nvSpPr>
              <p:cNvPr id="119" name="Rectangle 118"/>
              <p:cNvSpPr/>
              <p:nvPr/>
            </p:nvSpPr>
            <p:spPr>
              <a:xfrm>
                <a:off x="6406134" y="3021450"/>
                <a:ext cx="505215" cy="763561"/>
              </a:xfrm>
              <a:prstGeom prst="rect">
                <a:avLst/>
              </a:prstGeom>
              <a:solidFill>
                <a:srgbClr val="7F7F7F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/>
              </a:p>
            </p:txBody>
          </p:sp>
          <p:grpSp>
            <p:nvGrpSpPr>
              <p:cNvPr id="93" name="Group 92"/>
              <p:cNvGrpSpPr/>
              <p:nvPr/>
            </p:nvGrpSpPr>
            <p:grpSpPr>
              <a:xfrm>
                <a:off x="6469024" y="3302476"/>
                <a:ext cx="378091" cy="379834"/>
                <a:chOff x="960399" y="3909432"/>
                <a:chExt cx="378091" cy="379834"/>
              </a:xfrm>
            </p:grpSpPr>
            <p:sp>
              <p:nvSpPr>
                <p:cNvPr id="94" name="Oval 93"/>
                <p:cNvSpPr/>
                <p:nvPr/>
              </p:nvSpPr>
              <p:spPr>
                <a:xfrm>
                  <a:off x="960399" y="3909432"/>
                  <a:ext cx="378091" cy="379834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/>
                </a:p>
              </p:txBody>
            </p:sp>
            <p:sp>
              <p:nvSpPr>
                <p:cNvPr id="95" name="Oval 94"/>
                <p:cNvSpPr/>
                <p:nvPr/>
              </p:nvSpPr>
              <p:spPr>
                <a:xfrm>
                  <a:off x="1071974" y="4017541"/>
                  <a:ext cx="165774" cy="165817"/>
                </a:xfrm>
                <a:prstGeom prst="ellipse">
                  <a:avLst/>
                </a:prstGeom>
                <a:solidFill>
                  <a:schemeClr val="bg2">
                    <a:lumMod val="90000"/>
                  </a:schemeClr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/>
                </a:p>
              </p:txBody>
            </p:sp>
          </p:grpSp>
        </p:grpSp>
        <p:grpSp>
          <p:nvGrpSpPr>
            <p:cNvPr id="145" name="Group 144"/>
            <p:cNvGrpSpPr/>
            <p:nvPr/>
          </p:nvGrpSpPr>
          <p:grpSpPr>
            <a:xfrm>
              <a:off x="5017588" y="3021208"/>
              <a:ext cx="505215" cy="763561"/>
              <a:chOff x="6406134" y="3021450"/>
              <a:chExt cx="505215" cy="763561"/>
            </a:xfrm>
          </p:grpSpPr>
          <p:sp>
            <p:nvSpPr>
              <p:cNvPr id="146" name="Rectangle 145"/>
              <p:cNvSpPr/>
              <p:nvPr/>
            </p:nvSpPr>
            <p:spPr>
              <a:xfrm>
                <a:off x="6406134" y="3021450"/>
                <a:ext cx="505215" cy="763561"/>
              </a:xfrm>
              <a:prstGeom prst="rect">
                <a:avLst/>
              </a:prstGeom>
              <a:solidFill>
                <a:srgbClr val="7F7F7F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/>
              </a:p>
            </p:txBody>
          </p:sp>
          <p:grpSp>
            <p:nvGrpSpPr>
              <p:cNvPr id="147" name="Group 146"/>
              <p:cNvGrpSpPr/>
              <p:nvPr/>
            </p:nvGrpSpPr>
            <p:grpSpPr>
              <a:xfrm>
                <a:off x="6469024" y="3302476"/>
                <a:ext cx="378091" cy="379834"/>
                <a:chOff x="960399" y="3909432"/>
                <a:chExt cx="378091" cy="379834"/>
              </a:xfrm>
            </p:grpSpPr>
            <p:sp>
              <p:nvSpPr>
                <p:cNvPr id="148" name="Oval 147"/>
                <p:cNvSpPr/>
                <p:nvPr/>
              </p:nvSpPr>
              <p:spPr>
                <a:xfrm>
                  <a:off x="960399" y="3909432"/>
                  <a:ext cx="378091" cy="379834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/>
                </a:p>
              </p:txBody>
            </p:sp>
            <p:sp>
              <p:nvSpPr>
                <p:cNvPr id="149" name="Oval 148"/>
                <p:cNvSpPr/>
                <p:nvPr/>
              </p:nvSpPr>
              <p:spPr>
                <a:xfrm>
                  <a:off x="1071974" y="4017541"/>
                  <a:ext cx="165774" cy="165817"/>
                </a:xfrm>
                <a:prstGeom prst="ellipse">
                  <a:avLst/>
                </a:prstGeom>
                <a:solidFill>
                  <a:schemeClr val="bg2">
                    <a:lumMod val="90000"/>
                  </a:schemeClr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/>
                </a:p>
              </p:txBody>
            </p:sp>
          </p:grpSp>
        </p:grpSp>
        <p:grpSp>
          <p:nvGrpSpPr>
            <p:cNvPr id="150" name="Group 149"/>
            <p:cNvGrpSpPr/>
            <p:nvPr/>
          </p:nvGrpSpPr>
          <p:grpSpPr>
            <a:xfrm>
              <a:off x="3650957" y="3017974"/>
              <a:ext cx="505215" cy="763561"/>
              <a:chOff x="6406134" y="3021450"/>
              <a:chExt cx="505215" cy="763561"/>
            </a:xfrm>
          </p:grpSpPr>
          <p:sp>
            <p:nvSpPr>
              <p:cNvPr id="151" name="Rectangle 150"/>
              <p:cNvSpPr/>
              <p:nvPr/>
            </p:nvSpPr>
            <p:spPr>
              <a:xfrm>
                <a:off x="6406134" y="3021450"/>
                <a:ext cx="505215" cy="763561"/>
              </a:xfrm>
              <a:prstGeom prst="rect">
                <a:avLst/>
              </a:prstGeom>
              <a:solidFill>
                <a:srgbClr val="7F7F7F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/>
              </a:p>
            </p:txBody>
          </p:sp>
          <p:grpSp>
            <p:nvGrpSpPr>
              <p:cNvPr id="152" name="Group 151"/>
              <p:cNvGrpSpPr/>
              <p:nvPr/>
            </p:nvGrpSpPr>
            <p:grpSpPr>
              <a:xfrm>
                <a:off x="6469024" y="3302476"/>
                <a:ext cx="378091" cy="379834"/>
                <a:chOff x="960399" y="3909432"/>
                <a:chExt cx="378091" cy="379834"/>
              </a:xfrm>
            </p:grpSpPr>
            <p:sp>
              <p:nvSpPr>
                <p:cNvPr id="153" name="Oval 152"/>
                <p:cNvSpPr/>
                <p:nvPr/>
              </p:nvSpPr>
              <p:spPr>
                <a:xfrm>
                  <a:off x="960399" y="3909432"/>
                  <a:ext cx="378091" cy="379834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/>
                </a:p>
              </p:txBody>
            </p:sp>
            <p:sp>
              <p:nvSpPr>
                <p:cNvPr id="154" name="Oval 153"/>
                <p:cNvSpPr/>
                <p:nvPr/>
              </p:nvSpPr>
              <p:spPr>
                <a:xfrm>
                  <a:off x="1071974" y="4017541"/>
                  <a:ext cx="165774" cy="165817"/>
                </a:xfrm>
                <a:prstGeom prst="ellipse">
                  <a:avLst/>
                </a:prstGeom>
                <a:solidFill>
                  <a:schemeClr val="bg2">
                    <a:lumMod val="90000"/>
                  </a:schemeClr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/>
                </a:p>
              </p:txBody>
            </p:sp>
          </p:grpSp>
        </p:grpSp>
        <p:grpSp>
          <p:nvGrpSpPr>
            <p:cNvPr id="155" name="Group 154"/>
            <p:cNvGrpSpPr/>
            <p:nvPr/>
          </p:nvGrpSpPr>
          <p:grpSpPr>
            <a:xfrm>
              <a:off x="2296777" y="3020966"/>
              <a:ext cx="505215" cy="763561"/>
              <a:chOff x="6406134" y="3021450"/>
              <a:chExt cx="505215" cy="763561"/>
            </a:xfrm>
          </p:grpSpPr>
          <p:sp>
            <p:nvSpPr>
              <p:cNvPr id="156" name="Rectangle 155"/>
              <p:cNvSpPr/>
              <p:nvPr/>
            </p:nvSpPr>
            <p:spPr>
              <a:xfrm>
                <a:off x="6406134" y="3021450"/>
                <a:ext cx="505215" cy="763561"/>
              </a:xfrm>
              <a:prstGeom prst="rect">
                <a:avLst/>
              </a:prstGeom>
              <a:solidFill>
                <a:srgbClr val="7F7F7F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/>
              </a:p>
            </p:txBody>
          </p:sp>
          <p:grpSp>
            <p:nvGrpSpPr>
              <p:cNvPr id="157" name="Group 156"/>
              <p:cNvGrpSpPr/>
              <p:nvPr/>
            </p:nvGrpSpPr>
            <p:grpSpPr>
              <a:xfrm>
                <a:off x="6469024" y="3302476"/>
                <a:ext cx="378091" cy="379834"/>
                <a:chOff x="960399" y="3909432"/>
                <a:chExt cx="378091" cy="379834"/>
              </a:xfrm>
            </p:grpSpPr>
            <p:sp>
              <p:nvSpPr>
                <p:cNvPr id="158" name="Oval 157"/>
                <p:cNvSpPr/>
                <p:nvPr/>
              </p:nvSpPr>
              <p:spPr>
                <a:xfrm>
                  <a:off x="960399" y="3909432"/>
                  <a:ext cx="378091" cy="379834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/>
                </a:p>
              </p:txBody>
            </p:sp>
            <p:sp>
              <p:nvSpPr>
                <p:cNvPr id="159" name="Oval 158"/>
                <p:cNvSpPr/>
                <p:nvPr/>
              </p:nvSpPr>
              <p:spPr>
                <a:xfrm>
                  <a:off x="1071974" y="4017541"/>
                  <a:ext cx="165774" cy="165817"/>
                </a:xfrm>
                <a:prstGeom prst="ellipse">
                  <a:avLst/>
                </a:prstGeom>
                <a:solidFill>
                  <a:schemeClr val="bg2">
                    <a:lumMod val="90000"/>
                  </a:schemeClr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/>
                </a:p>
              </p:txBody>
            </p:sp>
          </p:grpSp>
        </p:grpSp>
        <p:grpSp>
          <p:nvGrpSpPr>
            <p:cNvPr id="140" name="Group 139"/>
            <p:cNvGrpSpPr/>
            <p:nvPr/>
          </p:nvGrpSpPr>
          <p:grpSpPr>
            <a:xfrm>
              <a:off x="3651207" y="5184637"/>
              <a:ext cx="505215" cy="763561"/>
              <a:chOff x="6406134" y="3021450"/>
              <a:chExt cx="505215" cy="763561"/>
            </a:xfrm>
          </p:grpSpPr>
          <p:sp>
            <p:nvSpPr>
              <p:cNvPr id="141" name="Rectangle 140"/>
              <p:cNvSpPr/>
              <p:nvPr/>
            </p:nvSpPr>
            <p:spPr>
              <a:xfrm>
                <a:off x="6406134" y="3021450"/>
                <a:ext cx="505215" cy="763561"/>
              </a:xfrm>
              <a:prstGeom prst="rect">
                <a:avLst/>
              </a:prstGeom>
              <a:solidFill>
                <a:srgbClr val="7F7F7F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/>
              </a:p>
            </p:txBody>
          </p:sp>
          <p:grpSp>
            <p:nvGrpSpPr>
              <p:cNvPr id="142" name="Group 141"/>
              <p:cNvGrpSpPr/>
              <p:nvPr/>
            </p:nvGrpSpPr>
            <p:grpSpPr>
              <a:xfrm>
                <a:off x="6469024" y="3302476"/>
                <a:ext cx="378091" cy="379834"/>
                <a:chOff x="960399" y="3909432"/>
                <a:chExt cx="378091" cy="379834"/>
              </a:xfrm>
            </p:grpSpPr>
            <p:sp>
              <p:nvSpPr>
                <p:cNvPr id="143" name="Oval 142"/>
                <p:cNvSpPr/>
                <p:nvPr/>
              </p:nvSpPr>
              <p:spPr>
                <a:xfrm>
                  <a:off x="960399" y="3909432"/>
                  <a:ext cx="378091" cy="379834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/>
                </a:p>
              </p:txBody>
            </p:sp>
            <p:sp>
              <p:nvSpPr>
                <p:cNvPr id="144" name="Oval 143"/>
                <p:cNvSpPr/>
                <p:nvPr/>
              </p:nvSpPr>
              <p:spPr>
                <a:xfrm>
                  <a:off x="1071974" y="4017541"/>
                  <a:ext cx="165774" cy="165817"/>
                </a:xfrm>
                <a:prstGeom prst="ellipse">
                  <a:avLst/>
                </a:prstGeom>
                <a:solidFill>
                  <a:schemeClr val="bg2">
                    <a:lumMod val="90000"/>
                  </a:schemeClr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/>
                </a:p>
              </p:txBody>
            </p:sp>
          </p:grpSp>
        </p:grpSp>
        <p:grpSp>
          <p:nvGrpSpPr>
            <p:cNvPr id="160" name="Group 159"/>
            <p:cNvGrpSpPr/>
            <p:nvPr/>
          </p:nvGrpSpPr>
          <p:grpSpPr>
            <a:xfrm>
              <a:off x="905244" y="3017732"/>
              <a:ext cx="505215" cy="763561"/>
              <a:chOff x="6406134" y="3021450"/>
              <a:chExt cx="505215" cy="763561"/>
            </a:xfrm>
          </p:grpSpPr>
          <p:sp>
            <p:nvSpPr>
              <p:cNvPr id="161" name="Rectangle 160"/>
              <p:cNvSpPr/>
              <p:nvPr/>
            </p:nvSpPr>
            <p:spPr>
              <a:xfrm>
                <a:off x="6406134" y="3021450"/>
                <a:ext cx="505215" cy="763561"/>
              </a:xfrm>
              <a:prstGeom prst="rect">
                <a:avLst/>
              </a:prstGeom>
              <a:solidFill>
                <a:srgbClr val="7F7F7F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/>
              </a:p>
            </p:txBody>
          </p:sp>
          <p:grpSp>
            <p:nvGrpSpPr>
              <p:cNvPr id="162" name="Group 161"/>
              <p:cNvGrpSpPr/>
              <p:nvPr/>
            </p:nvGrpSpPr>
            <p:grpSpPr>
              <a:xfrm>
                <a:off x="6469024" y="3302476"/>
                <a:ext cx="378091" cy="379834"/>
                <a:chOff x="960399" y="3909432"/>
                <a:chExt cx="378091" cy="379834"/>
              </a:xfrm>
            </p:grpSpPr>
            <p:sp>
              <p:nvSpPr>
                <p:cNvPr id="163" name="Oval 162"/>
                <p:cNvSpPr/>
                <p:nvPr/>
              </p:nvSpPr>
              <p:spPr>
                <a:xfrm>
                  <a:off x="960399" y="3909432"/>
                  <a:ext cx="378091" cy="379834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/>
                </a:p>
              </p:txBody>
            </p:sp>
            <p:sp>
              <p:nvSpPr>
                <p:cNvPr id="164" name="Oval 163"/>
                <p:cNvSpPr/>
                <p:nvPr/>
              </p:nvSpPr>
              <p:spPr>
                <a:xfrm>
                  <a:off x="1071974" y="4017541"/>
                  <a:ext cx="165774" cy="165817"/>
                </a:xfrm>
                <a:prstGeom prst="ellipse">
                  <a:avLst/>
                </a:prstGeom>
                <a:solidFill>
                  <a:schemeClr val="bg2">
                    <a:lumMod val="90000"/>
                  </a:schemeClr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/>
                </a:p>
              </p:txBody>
            </p:sp>
          </p:grpSp>
        </p:grpSp>
      </p:grpSp>
      <p:sp>
        <p:nvSpPr>
          <p:cNvPr id="23" name="TextBox 22"/>
          <p:cNvSpPr txBox="1"/>
          <p:nvPr/>
        </p:nvSpPr>
        <p:spPr>
          <a:xfrm>
            <a:off x="734695" y="4065604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G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110616" y="4065604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O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467569" y="4076522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AP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117944" y="1883877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GL-2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42022" y="1883877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GL-1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476308" y="1883877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AP-1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4835575" y="1881909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AP-2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6215891" y="1879940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PO-1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246169" y="4065677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PO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418359" y="2883638"/>
            <a:ext cx="4529716" cy="954085"/>
          </a:xfrm>
          <a:prstGeom prst="rect">
            <a:avLst/>
          </a:prstGeom>
          <a:noFill/>
        </p:spPr>
        <p:txBody>
          <a:bodyPr wrap="square" lIns="121899" tIns="60949" rIns="121899" bIns="60949" rtlCol="0">
            <a:spAutoFit/>
          </a:bodyPr>
          <a:lstStyle/>
          <a:p>
            <a:pPr marL="457200" indent="-457200">
              <a:buFont typeface="Arial"/>
              <a:buChar char="•"/>
            </a:pPr>
            <a:r>
              <a:rPr lang="en-US" sz="2700" dirty="0"/>
              <a:t>PDBs can be cloned from remote CDB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7418358" y="1677342"/>
            <a:ext cx="4529717" cy="1369583"/>
          </a:xfrm>
          <a:prstGeom prst="rect">
            <a:avLst/>
          </a:prstGeom>
          <a:noFill/>
        </p:spPr>
        <p:txBody>
          <a:bodyPr wrap="square" lIns="121899" tIns="60949" rIns="121899" bIns="60949" rtlCol="0">
            <a:spAutoFit/>
          </a:bodyPr>
          <a:lstStyle/>
          <a:p>
            <a:pPr marL="457200" indent="-457200">
              <a:buFont typeface="Arial"/>
              <a:buChar char="•"/>
            </a:pPr>
            <a:r>
              <a:rPr lang="en-US" sz="2700" dirty="0"/>
              <a:t>PDBs can be cloned from within the same CDB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399407" y="5213838"/>
            <a:ext cx="4529716" cy="1369583"/>
          </a:xfrm>
          <a:prstGeom prst="rect">
            <a:avLst/>
          </a:prstGeom>
          <a:noFill/>
        </p:spPr>
        <p:txBody>
          <a:bodyPr wrap="square" lIns="121899" tIns="60949" rIns="121899" bIns="60949" rtlCol="0">
            <a:spAutoFit/>
          </a:bodyPr>
          <a:lstStyle/>
          <a:p>
            <a:pPr marL="457200" indent="-457200">
              <a:buFont typeface="Arial"/>
              <a:buChar char="•"/>
            </a:pPr>
            <a:r>
              <a:rPr lang="en-US" sz="2700" dirty="0"/>
              <a:t>Thinly provision </a:t>
            </a:r>
            <a:r>
              <a:rPr lang="en-US" sz="2700" i="1" dirty="0"/>
              <a:t>snapshot</a:t>
            </a:r>
            <a:r>
              <a:rPr lang="en-US" sz="2700" dirty="0"/>
              <a:t> clones in second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7412040" y="4095381"/>
            <a:ext cx="4529717" cy="954085"/>
          </a:xfrm>
          <a:prstGeom prst="rect">
            <a:avLst/>
          </a:prstGeom>
          <a:noFill/>
        </p:spPr>
        <p:txBody>
          <a:bodyPr wrap="square" lIns="121899" tIns="60949" rIns="121899" bIns="60949" rtlCol="0">
            <a:spAutoFit/>
          </a:bodyPr>
          <a:lstStyle/>
          <a:p>
            <a:pPr marL="457200" indent="-457200">
              <a:buFont typeface="Arial"/>
              <a:buChar char="•"/>
            </a:pPr>
            <a:r>
              <a:rPr lang="en-US" sz="2700" dirty="0"/>
              <a:t>PDBs can be cloned from non-CDBs</a:t>
            </a:r>
          </a:p>
        </p:txBody>
      </p:sp>
      <p:pic>
        <p:nvPicPr>
          <p:cNvPr id="99" name="Picture 98" descr="clone-red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9835" y="2183299"/>
            <a:ext cx="1363872" cy="988428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226" y="4406041"/>
            <a:ext cx="1201408" cy="858520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44270" y="4406041"/>
            <a:ext cx="1201408" cy="858520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08021" y="4412328"/>
            <a:ext cx="1201408" cy="858520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07144" y="4401118"/>
            <a:ext cx="1201408" cy="858520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06384" y="4406681"/>
            <a:ext cx="1201408" cy="858520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403" y="2245704"/>
            <a:ext cx="1201408" cy="858520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065" y="2250367"/>
            <a:ext cx="1201408" cy="858520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78645" y="4394013"/>
            <a:ext cx="1201408" cy="858520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82503" y="4395785"/>
            <a:ext cx="1201408" cy="858520"/>
          </a:xfrm>
          <a:prstGeom prst="rect">
            <a:avLst/>
          </a:prstGeom>
        </p:spPr>
      </p:pic>
      <p:sp>
        <p:nvSpPr>
          <p:cNvPr id="10" name="Oval 9"/>
          <p:cNvSpPr/>
          <p:nvPr/>
        </p:nvSpPr>
        <p:spPr>
          <a:xfrm>
            <a:off x="1078874" y="5580766"/>
            <a:ext cx="165774" cy="165817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3826915" y="5577591"/>
            <a:ext cx="165774" cy="165817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2461406" y="5577591"/>
            <a:ext cx="165774" cy="165817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19" name="Oval 18"/>
          <p:cNvSpPr/>
          <p:nvPr/>
        </p:nvSpPr>
        <p:spPr>
          <a:xfrm>
            <a:off x="1077243" y="3407640"/>
            <a:ext cx="165774" cy="165817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21" name="Oval 20"/>
          <p:cNvSpPr/>
          <p:nvPr/>
        </p:nvSpPr>
        <p:spPr>
          <a:xfrm>
            <a:off x="2469962" y="3407640"/>
            <a:ext cx="165774" cy="165817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30" name="Oval 29"/>
          <p:cNvSpPr/>
          <p:nvPr/>
        </p:nvSpPr>
        <p:spPr>
          <a:xfrm>
            <a:off x="3828859" y="3408049"/>
            <a:ext cx="165774" cy="165817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47" name="Oval 46"/>
          <p:cNvSpPr/>
          <p:nvPr/>
        </p:nvSpPr>
        <p:spPr>
          <a:xfrm>
            <a:off x="5193504" y="3410727"/>
            <a:ext cx="165774" cy="165817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48" name="Oval 47"/>
          <p:cNvSpPr/>
          <p:nvPr/>
        </p:nvSpPr>
        <p:spPr>
          <a:xfrm>
            <a:off x="6580418" y="3409242"/>
            <a:ext cx="165774" cy="165817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533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 0 C 0.01563 -0.05487 0.03138 -0.10952 0.05027 -0.10859 C 0.06915 -0.10766 0.0913 -0.05117 0.11357 0.00556 " pathEditMode="relative" ptsTypes="aaA">
                                      <p:cBhvr>
                                        <p:cTn id="8" dur="2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 0 C 0.01563 -0.05487 0.03138 -0.10952 0.05027 -0.10859 C 0.06915 -0.10766 0.0913 -0.05117 0.11357 0.00556 " pathEditMode="relative" ptsTypes="aaA">
                                      <p:cBhvr>
                                        <p:cTn id="10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30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600"/>
                            </p:stCondLst>
                            <p:childTnLst>
                              <p:par>
                                <p:cTn id="1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0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 0 C -0.03751 -0.21232 -0.07489 -0.42464 -0.07724 -0.50776 C -0.07958 -0.59088 -0.02696 -0.53068 -0.01407 -0.49873 C -0.00118 -0.46678 -0.00039 -0.39107 0.00052 -0.31536 " pathEditMode="relative" ptsTypes="aaaA">
                                      <p:cBhvr>
                                        <p:cTn id="22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3" presetID="0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 0 C -0.03751 -0.21232 -0.07489 -0.42464 -0.07724 -0.50776 C -0.07958 -0.59088 -0.02696 -0.53068 -0.01407 -0.49873 C -0.00118 -0.46678 -0.00039 -0.39107 0.00052 -0.31536 " pathEditMode="relative" ptsTypes="aaaA">
                                      <p:cBhvr>
                                        <p:cTn id="24" dur="2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3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6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1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0" presetClass="path" presetSubtype="0" accel="5000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0 0 C -0.03517 -0.20954 -0.0702 -0.41908 -0.07307 -0.4978 C -0.07593 -0.57652 -0.02904 -0.50405 -0.01706 -0.47279 C -0.00508 -0.44153 -0.00313 -0.37578 -0.00104 -0.30979 " pathEditMode="relative" ptsTypes="aaaA">
                                      <p:cBhvr>
                                        <p:cTn id="40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1" presetID="0" presetClass="path" presetSubtype="0" accel="5000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0 0 C -0.03517 -0.20954 -0.0702 -0.41908 -0.07307 -0.4978 C -0.07593 -0.57652 -0.02904 -0.50405 -0.01706 -0.47279 C -0.00508 -0.44153 -0.00313 -0.37578 -0.00104 -0.30979 " pathEditMode="relative" ptsTypes="aaaA">
                                      <p:cBhvr>
                                        <p:cTn id="42" dur="2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800"/>
                            </p:stCondLst>
                            <p:childTnLst>
                              <p:par>
                                <p:cTn id="44" presetID="1" presetClass="entr" presetSubtype="0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100"/>
                            </p:stCondLst>
                            <p:childTnLst>
                              <p:par>
                                <p:cTn id="4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0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 0 C 0.01459 -0.03936 0.02931 -0.07872 0.04416 -0.09123 C 0.059 -0.10373 0.07802 -0.09007 0.08936 -0.07479 C 0.10069 -0.05951 0.10629 -0.02941 0.11189 0.00092 " pathEditMode="relative" ptsTypes="aaaA">
                                      <p:cBhvr>
                                        <p:cTn id="56" dur="1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7" presetID="0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 0 C 0.01459 -0.03936 0.02931 -0.07872 0.04416 -0.09123 C 0.059 -0.10373 0.07802 -0.09007 0.08936 -0.07479 C 0.10069 -0.05951 0.10629 -0.02941 0.11189 0.00092 " pathEditMode="relative" ptsTypes="aaaA">
                                      <p:cBhvr>
                                        <p:cTn id="58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500"/>
                            </p:stCondLst>
                            <p:childTnLst>
                              <p:par>
                                <p:cTn id="60" presetID="1" presetClass="entr" presetSubtype="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700"/>
                            </p:stCondLst>
                            <p:childTnLst>
                              <p:par>
                                <p:cTn id="6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31" grpId="0"/>
      <p:bldP spid="52" grpId="0"/>
      <p:bldP spid="53" grpId="0"/>
      <p:bldP spid="32" grpId="0"/>
      <p:bldP spid="33" grpId="0"/>
      <p:bldP spid="34" grpId="0"/>
      <p:bldP spid="35" grpId="0"/>
      <p:bldP spid="21" grpId="0" animBg="1"/>
      <p:bldP spid="30" grpId="0" animBg="1"/>
      <p:bldP spid="47" grpId="0" animBg="1"/>
      <p:bldP spid="4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092894" y="1451214"/>
            <a:ext cx="3986581" cy="23436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436108"/>
            <a:ext cx="11125200" cy="889000"/>
          </a:xfrm>
        </p:spPr>
        <p:txBody>
          <a:bodyPr/>
          <a:lstStyle/>
          <a:p>
            <a:r>
              <a:rPr lang="en-US" dirty="0"/>
              <a:t>PDB Hot Clone</a:t>
            </a:r>
          </a:p>
        </p:txBody>
      </p:sp>
      <p:pic>
        <p:nvPicPr>
          <p:cNvPr id="31" name="Picture 30" descr="pdb-down-orange-2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9984" y="2056361"/>
            <a:ext cx="1307592" cy="1307592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 dirty="0">
              <a:solidFill>
                <a:srgbClr val="A6A6A6"/>
              </a:solidFill>
            </a:endParaRPr>
          </a:p>
          <a:p>
            <a:r>
              <a:rPr lang="en-US" dirty="0"/>
              <a:t>PDB Hot Clone</a:t>
            </a:r>
          </a:p>
          <a:p>
            <a:pPr lvl="1"/>
            <a:r>
              <a:rPr lang="en-US" dirty="0"/>
              <a:t>Online test master instantiation</a:t>
            </a:r>
          </a:p>
        </p:txBody>
      </p:sp>
      <p:pic>
        <p:nvPicPr>
          <p:cNvPr id="4" name="Picture 3" descr="pdb-down-orange-2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9984" y="4507304"/>
            <a:ext cx="1307592" cy="1307592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8272881" y="4277985"/>
            <a:ext cx="1311093" cy="1539404"/>
            <a:chOff x="8256439" y="4285413"/>
            <a:chExt cx="1311093" cy="1539404"/>
          </a:xfrm>
        </p:grpSpPr>
        <p:pic>
          <p:nvPicPr>
            <p:cNvPr id="29" name="Picture 28" descr="pdb-down-red-2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56439" y="4513724"/>
              <a:ext cx="1311093" cy="1311093"/>
            </a:xfrm>
            <a:prstGeom prst="rect">
              <a:avLst/>
            </a:prstGeom>
          </p:spPr>
        </p:pic>
        <p:sp>
          <p:nvSpPr>
            <p:cNvPr id="33" name="TextBox 32"/>
            <p:cNvSpPr txBox="1"/>
            <p:nvPr/>
          </p:nvSpPr>
          <p:spPr>
            <a:xfrm>
              <a:off x="8452066" y="4285413"/>
              <a:ext cx="866362" cy="2682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rgbClr val="5F5F5F"/>
                  </a:solidFill>
                  <a:latin typeface="Calibri"/>
                </a:rPr>
                <a:t>CRM</a:t>
              </a:r>
            </a:p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5F5F5F"/>
                </a:solidFill>
                <a:latin typeface="Calibri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003780" y="1465424"/>
            <a:ext cx="4084602" cy="38534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rgbClr val="5F5F5F"/>
                </a:solidFill>
                <a:latin typeface="Calibri"/>
              </a:rPr>
              <a:t>Oracle Cloud</a:t>
            </a:r>
          </a:p>
        </p:txBody>
      </p:sp>
      <p:pic>
        <p:nvPicPr>
          <p:cNvPr id="36" name="Picture 35" descr="pdb-down-red-2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1629" y="4525035"/>
            <a:ext cx="1311093" cy="1311093"/>
          </a:xfrm>
          <a:prstGeom prst="rect">
            <a:avLst/>
          </a:prstGeom>
        </p:spPr>
      </p:pic>
      <p:pic>
        <p:nvPicPr>
          <p:cNvPr id="37" name="Picture 36" descr="pdb-down-red-2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9266" y="4525035"/>
            <a:ext cx="1311093" cy="1311093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6248214" y="4293696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rgbClr val="5F5F5F"/>
                </a:solidFill>
                <a:latin typeface="Calibri"/>
              </a:rPr>
              <a:t>Pricing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7341912" y="4293696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rgbClr val="5F5F5F"/>
                </a:solidFill>
                <a:latin typeface="Calibri"/>
              </a:rPr>
              <a:t>Retail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766014" y="6015352"/>
            <a:ext cx="4084602" cy="38534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rgbClr val="5F5F5F"/>
                </a:solidFill>
                <a:latin typeface="Calibri"/>
              </a:rPr>
              <a:t>On-Premises</a:t>
            </a:r>
          </a:p>
        </p:txBody>
      </p:sp>
      <p:pic>
        <p:nvPicPr>
          <p:cNvPr id="43" name="Picture 42" descr="pdb-container-3hot-2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612" y="5582388"/>
            <a:ext cx="3145536" cy="393192"/>
          </a:xfrm>
          <a:prstGeom prst="rect">
            <a:avLst/>
          </a:prstGeom>
        </p:spPr>
      </p:pic>
      <p:sp>
        <p:nvSpPr>
          <p:cNvPr id="46" name="Oval 45"/>
          <p:cNvSpPr/>
          <p:nvPr/>
        </p:nvSpPr>
        <p:spPr>
          <a:xfrm>
            <a:off x="8850187" y="3243605"/>
            <a:ext cx="155448" cy="155448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1459778" y="199134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40" name="Oval 39"/>
          <p:cNvSpPr/>
          <p:nvPr/>
        </p:nvSpPr>
        <p:spPr>
          <a:xfrm>
            <a:off x="8848034" y="3239500"/>
            <a:ext cx="155448" cy="155448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pic>
        <p:nvPicPr>
          <p:cNvPr id="42" name="Picture 41" descr="restful-services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1051" y="4801804"/>
            <a:ext cx="577726" cy="577726"/>
          </a:xfrm>
          <a:prstGeom prst="rect">
            <a:avLst/>
          </a:prstGeom>
        </p:spPr>
      </p:pic>
      <p:pic>
        <p:nvPicPr>
          <p:cNvPr id="45" name="Picture 44" descr="people-pm-woman-512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7807" y="4705975"/>
            <a:ext cx="611672" cy="611831"/>
          </a:xfrm>
          <a:prstGeom prst="rect">
            <a:avLst/>
          </a:prstGeom>
        </p:spPr>
      </p:pic>
      <p:grpSp>
        <p:nvGrpSpPr>
          <p:cNvPr id="21" name="Group 20"/>
          <p:cNvGrpSpPr/>
          <p:nvPr/>
        </p:nvGrpSpPr>
        <p:grpSpPr>
          <a:xfrm>
            <a:off x="7384142" y="1027223"/>
            <a:ext cx="4503597" cy="3896660"/>
            <a:chOff x="7382553" y="1027223"/>
            <a:chExt cx="4503597" cy="3896660"/>
          </a:xfrm>
        </p:grpSpPr>
        <p:pic>
          <p:nvPicPr>
            <p:cNvPr id="50" name="Picture 49" descr="pdb-clone-red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78448" y="1953327"/>
              <a:ext cx="1507702" cy="1507702"/>
            </a:xfrm>
            <a:prstGeom prst="rect">
              <a:avLst/>
            </a:prstGeom>
          </p:spPr>
        </p:pic>
        <p:pic>
          <p:nvPicPr>
            <p:cNvPr id="8" name="Picture 7" descr="pdb-clone-red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94089" y="1953327"/>
              <a:ext cx="1507702" cy="1507702"/>
            </a:xfrm>
            <a:prstGeom prst="rect">
              <a:avLst/>
            </a:prstGeom>
          </p:spPr>
        </p:pic>
        <p:sp>
          <p:nvSpPr>
            <p:cNvPr id="19" name="Freeform 18"/>
            <p:cNvSpPr/>
            <p:nvPr/>
          </p:nvSpPr>
          <p:spPr>
            <a:xfrm>
              <a:off x="8073293" y="2510361"/>
              <a:ext cx="453036" cy="2413522"/>
            </a:xfrm>
            <a:custGeom>
              <a:avLst/>
              <a:gdLst>
                <a:gd name="connsiteX0" fmla="*/ 995246 w 995246"/>
                <a:gd name="connsiteY0" fmla="*/ 1945901 h 1945901"/>
                <a:gd name="connsiteX1" fmla="*/ 13 w 995246"/>
                <a:gd name="connsiteY1" fmla="*/ 779846 h 1945901"/>
                <a:gd name="connsiteX2" fmla="*/ 972965 w 995246"/>
                <a:gd name="connsiteY2" fmla="*/ 0 h 1945901"/>
                <a:gd name="connsiteX0" fmla="*/ 995246 w 995246"/>
                <a:gd name="connsiteY0" fmla="*/ 1945901 h 1945986"/>
                <a:gd name="connsiteX1" fmla="*/ 13 w 995246"/>
                <a:gd name="connsiteY1" fmla="*/ 779846 h 1945986"/>
                <a:gd name="connsiteX2" fmla="*/ 972965 w 995246"/>
                <a:gd name="connsiteY2" fmla="*/ 0 h 1945986"/>
                <a:gd name="connsiteX0" fmla="*/ 995444 w 995444"/>
                <a:gd name="connsiteY0" fmla="*/ 1945901 h 1945986"/>
                <a:gd name="connsiteX1" fmla="*/ 211 w 995444"/>
                <a:gd name="connsiteY1" fmla="*/ 779846 h 1945986"/>
                <a:gd name="connsiteX2" fmla="*/ 973163 w 995444"/>
                <a:gd name="connsiteY2" fmla="*/ 0 h 1945986"/>
                <a:gd name="connsiteX0" fmla="*/ 988047 w 988047"/>
                <a:gd name="connsiteY0" fmla="*/ 1945901 h 1946011"/>
                <a:gd name="connsiteX1" fmla="*/ 241 w 988047"/>
                <a:gd name="connsiteY1" fmla="*/ 972951 h 1946011"/>
                <a:gd name="connsiteX2" fmla="*/ 965766 w 988047"/>
                <a:gd name="connsiteY2" fmla="*/ 0 h 1946011"/>
                <a:gd name="connsiteX0" fmla="*/ 610881 w 610881"/>
                <a:gd name="connsiteY0" fmla="*/ 1945901 h 1946011"/>
                <a:gd name="connsiteX1" fmla="*/ 120692 w 610881"/>
                <a:gd name="connsiteY1" fmla="*/ 972951 h 1946011"/>
                <a:gd name="connsiteX2" fmla="*/ 588600 w 610881"/>
                <a:gd name="connsiteY2" fmla="*/ 0 h 1946011"/>
                <a:gd name="connsiteX0" fmla="*/ 610881 w 610881"/>
                <a:gd name="connsiteY0" fmla="*/ 1945901 h 1946011"/>
                <a:gd name="connsiteX1" fmla="*/ 120692 w 610881"/>
                <a:gd name="connsiteY1" fmla="*/ 972951 h 1946011"/>
                <a:gd name="connsiteX2" fmla="*/ 588600 w 610881"/>
                <a:gd name="connsiteY2" fmla="*/ 0 h 1946011"/>
                <a:gd name="connsiteX0" fmla="*/ 490243 w 490243"/>
                <a:gd name="connsiteY0" fmla="*/ 1945901 h 1946011"/>
                <a:gd name="connsiteX1" fmla="*/ 54 w 490243"/>
                <a:gd name="connsiteY1" fmla="*/ 972951 h 1946011"/>
                <a:gd name="connsiteX2" fmla="*/ 467962 w 490243"/>
                <a:gd name="connsiteY2" fmla="*/ 0 h 1946011"/>
                <a:gd name="connsiteX0" fmla="*/ 467969 w 467969"/>
                <a:gd name="connsiteY0" fmla="*/ 1945901 h 1946017"/>
                <a:gd name="connsiteX1" fmla="*/ 61 w 467969"/>
                <a:gd name="connsiteY1" fmla="*/ 1010087 h 1946017"/>
                <a:gd name="connsiteX2" fmla="*/ 445688 w 467969"/>
                <a:gd name="connsiteY2" fmla="*/ 0 h 1946017"/>
                <a:gd name="connsiteX0" fmla="*/ 467969 w 467969"/>
                <a:gd name="connsiteY0" fmla="*/ 1945901 h 1946099"/>
                <a:gd name="connsiteX1" fmla="*/ 61 w 467969"/>
                <a:gd name="connsiteY1" fmla="*/ 1010087 h 1946099"/>
                <a:gd name="connsiteX2" fmla="*/ 445688 w 467969"/>
                <a:gd name="connsiteY2" fmla="*/ 0 h 1946099"/>
                <a:gd name="connsiteX0" fmla="*/ 467966 w 467966"/>
                <a:gd name="connsiteY0" fmla="*/ 1945901 h 1946131"/>
                <a:gd name="connsiteX1" fmla="*/ 58 w 467966"/>
                <a:gd name="connsiteY1" fmla="*/ 1010087 h 1946131"/>
                <a:gd name="connsiteX2" fmla="*/ 445685 w 467966"/>
                <a:gd name="connsiteY2" fmla="*/ 0 h 1946131"/>
                <a:gd name="connsiteX0" fmla="*/ 467966 w 467966"/>
                <a:gd name="connsiteY0" fmla="*/ 1945901 h 1946131"/>
                <a:gd name="connsiteX1" fmla="*/ 58 w 467966"/>
                <a:gd name="connsiteY1" fmla="*/ 1010087 h 1946131"/>
                <a:gd name="connsiteX2" fmla="*/ 445685 w 467966"/>
                <a:gd name="connsiteY2" fmla="*/ 0 h 1946131"/>
                <a:gd name="connsiteX0" fmla="*/ 467948 w 467948"/>
                <a:gd name="connsiteY0" fmla="*/ 1945901 h 1945901"/>
                <a:gd name="connsiteX1" fmla="*/ 40 w 467948"/>
                <a:gd name="connsiteY1" fmla="*/ 1010087 h 1945901"/>
                <a:gd name="connsiteX2" fmla="*/ 445667 w 467948"/>
                <a:gd name="connsiteY2" fmla="*/ 0 h 1945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7948" h="1945901">
                  <a:moveTo>
                    <a:pt x="467948" y="1945901"/>
                  </a:moveTo>
                  <a:cubicBezTo>
                    <a:pt x="257109" y="1848018"/>
                    <a:pt x="-3674" y="1646342"/>
                    <a:pt x="40" y="1010087"/>
                  </a:cubicBezTo>
                  <a:cubicBezTo>
                    <a:pt x="3754" y="373832"/>
                    <a:pt x="157003" y="76809"/>
                    <a:pt x="445667" y="0"/>
                  </a:cubicBezTo>
                </a:path>
              </a:pathLst>
            </a:custGeom>
            <a:ln w="25400">
              <a:solidFill>
                <a:schemeClr val="tx2"/>
              </a:solidFill>
              <a:headEnd type="none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n w="57150" cmpd="sng">
                  <a:solidFill>
                    <a:srgbClr val="5F5F5F"/>
                  </a:solidFill>
                </a:ln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7382553" y="3708408"/>
              <a:ext cx="653586" cy="19824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srgbClr val="5F5F5F"/>
                  </a:solidFill>
                  <a:latin typeface="Calibri"/>
                </a:rPr>
                <a:t>Hot Clone</a:t>
              </a:r>
            </a:p>
          </p:txBody>
        </p:sp>
        <p:sp>
          <p:nvSpPr>
            <p:cNvPr id="52" name="Freeform 51"/>
            <p:cNvSpPr/>
            <p:nvPr/>
          </p:nvSpPr>
          <p:spPr>
            <a:xfrm rot="5400000">
              <a:off x="9458440" y="1229178"/>
              <a:ext cx="341493" cy="853983"/>
            </a:xfrm>
            <a:custGeom>
              <a:avLst/>
              <a:gdLst>
                <a:gd name="connsiteX0" fmla="*/ 995246 w 995246"/>
                <a:gd name="connsiteY0" fmla="*/ 1945901 h 1945901"/>
                <a:gd name="connsiteX1" fmla="*/ 13 w 995246"/>
                <a:gd name="connsiteY1" fmla="*/ 779846 h 1945901"/>
                <a:gd name="connsiteX2" fmla="*/ 972965 w 995246"/>
                <a:gd name="connsiteY2" fmla="*/ 0 h 1945901"/>
                <a:gd name="connsiteX0" fmla="*/ 995246 w 995246"/>
                <a:gd name="connsiteY0" fmla="*/ 1945901 h 1945986"/>
                <a:gd name="connsiteX1" fmla="*/ 13 w 995246"/>
                <a:gd name="connsiteY1" fmla="*/ 779846 h 1945986"/>
                <a:gd name="connsiteX2" fmla="*/ 972965 w 995246"/>
                <a:gd name="connsiteY2" fmla="*/ 0 h 1945986"/>
                <a:gd name="connsiteX0" fmla="*/ 995444 w 995444"/>
                <a:gd name="connsiteY0" fmla="*/ 1945901 h 1945986"/>
                <a:gd name="connsiteX1" fmla="*/ 211 w 995444"/>
                <a:gd name="connsiteY1" fmla="*/ 779846 h 1945986"/>
                <a:gd name="connsiteX2" fmla="*/ 973163 w 995444"/>
                <a:gd name="connsiteY2" fmla="*/ 0 h 1945986"/>
                <a:gd name="connsiteX0" fmla="*/ 988047 w 988047"/>
                <a:gd name="connsiteY0" fmla="*/ 1945901 h 1946011"/>
                <a:gd name="connsiteX1" fmla="*/ 241 w 988047"/>
                <a:gd name="connsiteY1" fmla="*/ 972951 h 1946011"/>
                <a:gd name="connsiteX2" fmla="*/ 965766 w 988047"/>
                <a:gd name="connsiteY2" fmla="*/ 0 h 1946011"/>
                <a:gd name="connsiteX0" fmla="*/ 610881 w 610881"/>
                <a:gd name="connsiteY0" fmla="*/ 1945901 h 1946011"/>
                <a:gd name="connsiteX1" fmla="*/ 120692 w 610881"/>
                <a:gd name="connsiteY1" fmla="*/ 972951 h 1946011"/>
                <a:gd name="connsiteX2" fmla="*/ 588600 w 610881"/>
                <a:gd name="connsiteY2" fmla="*/ 0 h 1946011"/>
                <a:gd name="connsiteX0" fmla="*/ 610881 w 610881"/>
                <a:gd name="connsiteY0" fmla="*/ 1945901 h 1946011"/>
                <a:gd name="connsiteX1" fmla="*/ 120692 w 610881"/>
                <a:gd name="connsiteY1" fmla="*/ 972951 h 1946011"/>
                <a:gd name="connsiteX2" fmla="*/ 588600 w 610881"/>
                <a:gd name="connsiteY2" fmla="*/ 0 h 1946011"/>
                <a:gd name="connsiteX0" fmla="*/ 490243 w 490243"/>
                <a:gd name="connsiteY0" fmla="*/ 1945901 h 1946011"/>
                <a:gd name="connsiteX1" fmla="*/ 54 w 490243"/>
                <a:gd name="connsiteY1" fmla="*/ 972951 h 1946011"/>
                <a:gd name="connsiteX2" fmla="*/ 467962 w 490243"/>
                <a:gd name="connsiteY2" fmla="*/ 0 h 1946011"/>
                <a:gd name="connsiteX0" fmla="*/ 467969 w 467969"/>
                <a:gd name="connsiteY0" fmla="*/ 1945901 h 1946017"/>
                <a:gd name="connsiteX1" fmla="*/ 61 w 467969"/>
                <a:gd name="connsiteY1" fmla="*/ 1010087 h 1946017"/>
                <a:gd name="connsiteX2" fmla="*/ 445688 w 467969"/>
                <a:gd name="connsiteY2" fmla="*/ 0 h 1946017"/>
                <a:gd name="connsiteX0" fmla="*/ 467969 w 467969"/>
                <a:gd name="connsiteY0" fmla="*/ 1945901 h 1946099"/>
                <a:gd name="connsiteX1" fmla="*/ 61 w 467969"/>
                <a:gd name="connsiteY1" fmla="*/ 1010087 h 1946099"/>
                <a:gd name="connsiteX2" fmla="*/ 445688 w 467969"/>
                <a:gd name="connsiteY2" fmla="*/ 0 h 1946099"/>
                <a:gd name="connsiteX0" fmla="*/ 467966 w 467966"/>
                <a:gd name="connsiteY0" fmla="*/ 1945901 h 1946131"/>
                <a:gd name="connsiteX1" fmla="*/ 58 w 467966"/>
                <a:gd name="connsiteY1" fmla="*/ 1010087 h 1946131"/>
                <a:gd name="connsiteX2" fmla="*/ 445685 w 467966"/>
                <a:gd name="connsiteY2" fmla="*/ 0 h 1946131"/>
                <a:gd name="connsiteX0" fmla="*/ 467966 w 467966"/>
                <a:gd name="connsiteY0" fmla="*/ 1945901 h 1946131"/>
                <a:gd name="connsiteX1" fmla="*/ 58 w 467966"/>
                <a:gd name="connsiteY1" fmla="*/ 1010087 h 1946131"/>
                <a:gd name="connsiteX2" fmla="*/ 445685 w 467966"/>
                <a:gd name="connsiteY2" fmla="*/ 0 h 1946131"/>
                <a:gd name="connsiteX0" fmla="*/ 467948 w 467948"/>
                <a:gd name="connsiteY0" fmla="*/ 1945901 h 1945901"/>
                <a:gd name="connsiteX1" fmla="*/ 40 w 467948"/>
                <a:gd name="connsiteY1" fmla="*/ 1010087 h 1945901"/>
                <a:gd name="connsiteX2" fmla="*/ 445667 w 467948"/>
                <a:gd name="connsiteY2" fmla="*/ 0 h 1945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7948" h="1945901">
                  <a:moveTo>
                    <a:pt x="467948" y="1945901"/>
                  </a:moveTo>
                  <a:cubicBezTo>
                    <a:pt x="257109" y="1848018"/>
                    <a:pt x="-3674" y="1646342"/>
                    <a:pt x="40" y="1010087"/>
                  </a:cubicBezTo>
                  <a:cubicBezTo>
                    <a:pt x="3754" y="373832"/>
                    <a:pt x="157003" y="76809"/>
                    <a:pt x="445667" y="0"/>
                  </a:cubicBezTo>
                </a:path>
              </a:pathLst>
            </a:custGeom>
            <a:ln w="25400">
              <a:solidFill>
                <a:schemeClr val="tx2"/>
              </a:solidFill>
              <a:headEnd type="none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n w="57150" cmpd="sng">
                  <a:solidFill>
                    <a:srgbClr val="5F5F5F"/>
                  </a:solidFill>
                </a:ln>
              </a:endParaRPr>
            </a:p>
          </p:txBody>
        </p:sp>
        <p:sp>
          <p:nvSpPr>
            <p:cNvPr id="53" name="Freeform 52"/>
            <p:cNvSpPr/>
            <p:nvPr/>
          </p:nvSpPr>
          <p:spPr>
            <a:xfrm rot="5400000">
              <a:off x="9870637" y="512467"/>
              <a:ext cx="571886" cy="2012749"/>
            </a:xfrm>
            <a:custGeom>
              <a:avLst/>
              <a:gdLst>
                <a:gd name="connsiteX0" fmla="*/ 995246 w 995246"/>
                <a:gd name="connsiteY0" fmla="*/ 1945901 h 1945901"/>
                <a:gd name="connsiteX1" fmla="*/ 13 w 995246"/>
                <a:gd name="connsiteY1" fmla="*/ 779846 h 1945901"/>
                <a:gd name="connsiteX2" fmla="*/ 972965 w 995246"/>
                <a:gd name="connsiteY2" fmla="*/ 0 h 1945901"/>
                <a:gd name="connsiteX0" fmla="*/ 995246 w 995246"/>
                <a:gd name="connsiteY0" fmla="*/ 1945901 h 1945986"/>
                <a:gd name="connsiteX1" fmla="*/ 13 w 995246"/>
                <a:gd name="connsiteY1" fmla="*/ 779846 h 1945986"/>
                <a:gd name="connsiteX2" fmla="*/ 972965 w 995246"/>
                <a:gd name="connsiteY2" fmla="*/ 0 h 1945986"/>
                <a:gd name="connsiteX0" fmla="*/ 995444 w 995444"/>
                <a:gd name="connsiteY0" fmla="*/ 1945901 h 1945986"/>
                <a:gd name="connsiteX1" fmla="*/ 211 w 995444"/>
                <a:gd name="connsiteY1" fmla="*/ 779846 h 1945986"/>
                <a:gd name="connsiteX2" fmla="*/ 973163 w 995444"/>
                <a:gd name="connsiteY2" fmla="*/ 0 h 1945986"/>
                <a:gd name="connsiteX0" fmla="*/ 988047 w 988047"/>
                <a:gd name="connsiteY0" fmla="*/ 1945901 h 1946011"/>
                <a:gd name="connsiteX1" fmla="*/ 241 w 988047"/>
                <a:gd name="connsiteY1" fmla="*/ 972951 h 1946011"/>
                <a:gd name="connsiteX2" fmla="*/ 965766 w 988047"/>
                <a:gd name="connsiteY2" fmla="*/ 0 h 1946011"/>
                <a:gd name="connsiteX0" fmla="*/ 610881 w 610881"/>
                <a:gd name="connsiteY0" fmla="*/ 1945901 h 1946011"/>
                <a:gd name="connsiteX1" fmla="*/ 120692 w 610881"/>
                <a:gd name="connsiteY1" fmla="*/ 972951 h 1946011"/>
                <a:gd name="connsiteX2" fmla="*/ 588600 w 610881"/>
                <a:gd name="connsiteY2" fmla="*/ 0 h 1946011"/>
                <a:gd name="connsiteX0" fmla="*/ 610881 w 610881"/>
                <a:gd name="connsiteY0" fmla="*/ 1945901 h 1946011"/>
                <a:gd name="connsiteX1" fmla="*/ 120692 w 610881"/>
                <a:gd name="connsiteY1" fmla="*/ 972951 h 1946011"/>
                <a:gd name="connsiteX2" fmla="*/ 588600 w 610881"/>
                <a:gd name="connsiteY2" fmla="*/ 0 h 1946011"/>
                <a:gd name="connsiteX0" fmla="*/ 490243 w 490243"/>
                <a:gd name="connsiteY0" fmla="*/ 1945901 h 1946011"/>
                <a:gd name="connsiteX1" fmla="*/ 54 w 490243"/>
                <a:gd name="connsiteY1" fmla="*/ 972951 h 1946011"/>
                <a:gd name="connsiteX2" fmla="*/ 467962 w 490243"/>
                <a:gd name="connsiteY2" fmla="*/ 0 h 1946011"/>
                <a:gd name="connsiteX0" fmla="*/ 467969 w 467969"/>
                <a:gd name="connsiteY0" fmla="*/ 1945901 h 1946017"/>
                <a:gd name="connsiteX1" fmla="*/ 61 w 467969"/>
                <a:gd name="connsiteY1" fmla="*/ 1010087 h 1946017"/>
                <a:gd name="connsiteX2" fmla="*/ 445688 w 467969"/>
                <a:gd name="connsiteY2" fmla="*/ 0 h 1946017"/>
                <a:gd name="connsiteX0" fmla="*/ 467969 w 467969"/>
                <a:gd name="connsiteY0" fmla="*/ 1945901 h 1946099"/>
                <a:gd name="connsiteX1" fmla="*/ 61 w 467969"/>
                <a:gd name="connsiteY1" fmla="*/ 1010087 h 1946099"/>
                <a:gd name="connsiteX2" fmla="*/ 445688 w 467969"/>
                <a:gd name="connsiteY2" fmla="*/ 0 h 1946099"/>
                <a:gd name="connsiteX0" fmla="*/ 467966 w 467966"/>
                <a:gd name="connsiteY0" fmla="*/ 1945901 h 1946131"/>
                <a:gd name="connsiteX1" fmla="*/ 58 w 467966"/>
                <a:gd name="connsiteY1" fmla="*/ 1010087 h 1946131"/>
                <a:gd name="connsiteX2" fmla="*/ 445685 w 467966"/>
                <a:gd name="connsiteY2" fmla="*/ 0 h 1946131"/>
                <a:gd name="connsiteX0" fmla="*/ 467966 w 467966"/>
                <a:gd name="connsiteY0" fmla="*/ 1945901 h 1946131"/>
                <a:gd name="connsiteX1" fmla="*/ 58 w 467966"/>
                <a:gd name="connsiteY1" fmla="*/ 1010087 h 1946131"/>
                <a:gd name="connsiteX2" fmla="*/ 445685 w 467966"/>
                <a:gd name="connsiteY2" fmla="*/ 0 h 1946131"/>
                <a:gd name="connsiteX0" fmla="*/ 467948 w 467948"/>
                <a:gd name="connsiteY0" fmla="*/ 1945901 h 1945901"/>
                <a:gd name="connsiteX1" fmla="*/ 40 w 467948"/>
                <a:gd name="connsiteY1" fmla="*/ 1010087 h 1945901"/>
                <a:gd name="connsiteX2" fmla="*/ 445667 w 467948"/>
                <a:gd name="connsiteY2" fmla="*/ 0 h 1945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7948" h="1945901">
                  <a:moveTo>
                    <a:pt x="467948" y="1945901"/>
                  </a:moveTo>
                  <a:cubicBezTo>
                    <a:pt x="257109" y="1848018"/>
                    <a:pt x="-3674" y="1646342"/>
                    <a:pt x="40" y="1010087"/>
                  </a:cubicBezTo>
                  <a:cubicBezTo>
                    <a:pt x="3754" y="373832"/>
                    <a:pt x="157003" y="76809"/>
                    <a:pt x="445667" y="0"/>
                  </a:cubicBezTo>
                </a:path>
              </a:pathLst>
            </a:custGeom>
            <a:ln w="25400">
              <a:solidFill>
                <a:schemeClr val="tx2"/>
              </a:solidFill>
              <a:headEnd type="none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n w="57150" cmpd="sng">
                  <a:solidFill>
                    <a:srgbClr val="5F5F5F"/>
                  </a:solidFill>
                </a:ln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9358165" y="1324308"/>
              <a:ext cx="1411152" cy="16853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srgbClr val="5F5F5F"/>
                  </a:solidFill>
                  <a:latin typeface="Calibri"/>
                </a:rPr>
                <a:t>Snap Clone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9335883" y="1027223"/>
              <a:ext cx="1411152" cy="16853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srgbClr val="5F5F5F"/>
                  </a:solidFill>
                  <a:latin typeface="Calibri"/>
                </a:rPr>
                <a:t>Snap Clone</a:t>
              </a:r>
            </a:p>
          </p:txBody>
        </p:sp>
        <p:pic>
          <p:nvPicPr>
            <p:cNvPr id="60" name="Picture 59" descr="people-developer-man-512.png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05483" y="4025489"/>
              <a:ext cx="381000" cy="381000"/>
            </a:xfrm>
            <a:prstGeom prst="rect">
              <a:avLst/>
            </a:prstGeom>
          </p:spPr>
        </p:pic>
        <p:pic>
          <p:nvPicPr>
            <p:cNvPr id="61" name="Picture 60" descr="people-executive-woman-512.png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74515" y="4025489"/>
              <a:ext cx="381000" cy="381000"/>
            </a:xfrm>
            <a:prstGeom prst="rect">
              <a:avLst/>
            </a:prstGeom>
          </p:spPr>
        </p:pic>
        <p:pic>
          <p:nvPicPr>
            <p:cNvPr id="62" name="Picture 61" descr="restful-services.png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10993721" y="3620898"/>
              <a:ext cx="369766" cy="369766"/>
            </a:xfrm>
            <a:prstGeom prst="rect">
              <a:avLst/>
            </a:prstGeom>
          </p:spPr>
        </p:pic>
        <p:pic>
          <p:nvPicPr>
            <p:cNvPr id="63" name="Picture 62" descr="restful-services.png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9864800" y="3620898"/>
              <a:ext cx="369766" cy="369766"/>
            </a:xfrm>
            <a:prstGeom prst="rect">
              <a:avLst/>
            </a:prstGeom>
          </p:spPr>
        </p:pic>
        <p:sp>
          <p:nvSpPr>
            <p:cNvPr id="64" name="TextBox 63"/>
            <p:cNvSpPr txBox="1"/>
            <p:nvPr/>
          </p:nvSpPr>
          <p:spPr>
            <a:xfrm>
              <a:off x="8497042" y="1805615"/>
              <a:ext cx="866362" cy="3618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rgbClr val="5F5F5F"/>
                  </a:solidFill>
                  <a:latin typeface="Calibri"/>
                </a:rPr>
                <a:t>CRM</a:t>
              </a: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9618536" y="1775906"/>
              <a:ext cx="866362" cy="3618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rgbClr val="5F5F5F"/>
                  </a:solidFill>
                  <a:latin typeface="Calibri"/>
                </a:rPr>
                <a:t>CRM Dev1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10732604" y="1775906"/>
              <a:ext cx="866362" cy="3618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rgbClr val="5F5F5F"/>
                  </a:solidFill>
                  <a:latin typeface="Calibri"/>
                </a:rPr>
                <a:t>CRM Dev2</a:t>
              </a: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9930054" y="3671272"/>
              <a:ext cx="1411152" cy="16853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srgbClr val="5F5F5F"/>
                  </a:solidFill>
                  <a:latin typeface="Calibri"/>
                </a:rPr>
                <a:t>Developers</a:t>
              </a:r>
            </a:p>
          </p:txBody>
        </p:sp>
      </p:grpSp>
      <p:pic>
        <p:nvPicPr>
          <p:cNvPr id="32" name="Picture 31" descr="pdb-container-2hot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4534" y="3124151"/>
            <a:ext cx="3110109" cy="38876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851685" y="3241022"/>
            <a:ext cx="157927" cy="157927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971427" y="3241022"/>
            <a:ext cx="157927" cy="157927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062550" y="3241022"/>
            <a:ext cx="157927" cy="157927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855781" y="3241336"/>
            <a:ext cx="157988" cy="157988"/>
          </a:xfrm>
          <a:prstGeom prst="rect">
            <a:avLst/>
          </a:prstGeom>
        </p:spPr>
      </p:pic>
      <p:grpSp>
        <p:nvGrpSpPr>
          <p:cNvPr id="75" name="Group 74"/>
          <p:cNvGrpSpPr/>
          <p:nvPr/>
        </p:nvGrpSpPr>
        <p:grpSpPr>
          <a:xfrm>
            <a:off x="9969279" y="3239418"/>
            <a:ext cx="1253363" cy="161163"/>
            <a:chOff x="9967690" y="3239417"/>
            <a:chExt cx="1253363" cy="161163"/>
          </a:xfrm>
        </p:grpSpPr>
        <p:pic>
          <p:nvPicPr>
            <p:cNvPr id="73" name="Picture 72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9967690" y="3239417"/>
              <a:ext cx="157988" cy="157988"/>
            </a:xfrm>
            <a:prstGeom prst="rect">
              <a:avLst/>
            </a:prstGeom>
          </p:spPr>
        </p:pic>
        <p:pic>
          <p:nvPicPr>
            <p:cNvPr id="74" name="Picture 73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1063065" y="3242592"/>
              <a:ext cx="157988" cy="1579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6307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0357E-7 1.56091E-6 L 0.00052 -0.35433 " pathEditMode="relative" ptsTypes="AA">
                                      <p:cBhvr>
                                        <p:cTn id="6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092894" y="1451214"/>
            <a:ext cx="3986581" cy="23436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436108"/>
            <a:ext cx="11125200" cy="889000"/>
          </a:xfrm>
        </p:spPr>
        <p:txBody>
          <a:bodyPr/>
          <a:lstStyle/>
          <a:p>
            <a:r>
              <a:rPr lang="en-US" dirty="0"/>
              <a:t>Refreshable PDB</a:t>
            </a:r>
          </a:p>
        </p:txBody>
      </p:sp>
      <p:pic>
        <p:nvPicPr>
          <p:cNvPr id="31" name="Picture 30" descr="pdb-down-orange-2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9984" y="2056361"/>
            <a:ext cx="1307592" cy="1307592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 dirty="0">
              <a:solidFill>
                <a:srgbClr val="A6A6A6"/>
              </a:solidFill>
            </a:endParaRPr>
          </a:p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DB Hot Clone</a:t>
            </a:r>
          </a:p>
          <a:p>
            <a:pPr lvl="1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Online test master instantiation</a:t>
            </a:r>
          </a:p>
          <a:p>
            <a:pPr>
              <a:buClr>
                <a:srgbClr val="5F5F5F">
                  <a:lumMod val="60000"/>
                  <a:lumOff val="40000"/>
                </a:srgbClr>
              </a:buClr>
            </a:pPr>
            <a:r>
              <a:rPr lang="en-US" dirty="0"/>
              <a:t>Refreshable PDB</a:t>
            </a:r>
          </a:p>
          <a:p>
            <a:pPr lvl="1">
              <a:buClr>
                <a:srgbClr val="5F5F5F">
                  <a:lumMod val="60000"/>
                  <a:lumOff val="40000"/>
                </a:srgbClr>
              </a:buClr>
            </a:pPr>
            <a:r>
              <a:rPr lang="en-US" dirty="0"/>
              <a:t>Incremental refresh of clone with latest data</a:t>
            </a:r>
          </a:p>
        </p:txBody>
      </p:sp>
      <p:pic>
        <p:nvPicPr>
          <p:cNvPr id="4" name="Picture 3" descr="pdb-down-orange-2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9984" y="4507304"/>
            <a:ext cx="1307592" cy="1307592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8272881" y="4277985"/>
            <a:ext cx="1311093" cy="1539404"/>
            <a:chOff x="8256439" y="4285413"/>
            <a:chExt cx="1311093" cy="1539404"/>
          </a:xfrm>
        </p:grpSpPr>
        <p:pic>
          <p:nvPicPr>
            <p:cNvPr id="29" name="Picture 28" descr="pdb-down-red-2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56439" y="4513724"/>
              <a:ext cx="1311093" cy="1311093"/>
            </a:xfrm>
            <a:prstGeom prst="rect">
              <a:avLst/>
            </a:prstGeom>
          </p:spPr>
        </p:pic>
        <p:sp>
          <p:nvSpPr>
            <p:cNvPr id="33" name="TextBox 32"/>
            <p:cNvSpPr txBox="1"/>
            <p:nvPr/>
          </p:nvSpPr>
          <p:spPr>
            <a:xfrm>
              <a:off x="8452066" y="4285413"/>
              <a:ext cx="866362" cy="2682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rgbClr val="5F5F5F"/>
                  </a:solidFill>
                  <a:latin typeface="Calibri"/>
                </a:rPr>
                <a:t>CRM</a:t>
              </a:r>
            </a:p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5F5F5F"/>
                </a:solidFill>
                <a:latin typeface="Calibri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003780" y="1465424"/>
            <a:ext cx="4084602" cy="38534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rgbClr val="5F5F5F"/>
                </a:solidFill>
                <a:latin typeface="Calibri"/>
              </a:rPr>
              <a:t>Oracle Cloud</a:t>
            </a:r>
          </a:p>
        </p:txBody>
      </p:sp>
      <p:pic>
        <p:nvPicPr>
          <p:cNvPr id="36" name="Picture 35" descr="pdb-down-red-2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1629" y="4525035"/>
            <a:ext cx="1311093" cy="1311093"/>
          </a:xfrm>
          <a:prstGeom prst="rect">
            <a:avLst/>
          </a:prstGeom>
        </p:spPr>
      </p:pic>
      <p:pic>
        <p:nvPicPr>
          <p:cNvPr id="37" name="Picture 36" descr="pdb-down-red-2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9266" y="4525035"/>
            <a:ext cx="1311093" cy="1311093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6248214" y="4293696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rgbClr val="5F5F5F"/>
                </a:solidFill>
                <a:latin typeface="Calibri"/>
              </a:rPr>
              <a:t>Pricing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7341912" y="4293696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rgbClr val="5F5F5F"/>
                </a:solidFill>
                <a:latin typeface="Calibri"/>
              </a:rPr>
              <a:t>Retail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766014" y="6015352"/>
            <a:ext cx="4084602" cy="38534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rgbClr val="5F5F5F"/>
                </a:solidFill>
                <a:latin typeface="Calibri"/>
              </a:rPr>
              <a:t>On-Premises</a:t>
            </a:r>
          </a:p>
        </p:txBody>
      </p:sp>
      <p:pic>
        <p:nvPicPr>
          <p:cNvPr id="43" name="Picture 42" descr="pdb-container-3hot-2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612" y="5582388"/>
            <a:ext cx="3145536" cy="393192"/>
          </a:xfrm>
          <a:prstGeom prst="rect">
            <a:avLst/>
          </a:prstGeom>
        </p:spPr>
      </p:pic>
      <p:sp>
        <p:nvSpPr>
          <p:cNvPr id="46" name="Oval 45"/>
          <p:cNvSpPr/>
          <p:nvPr/>
        </p:nvSpPr>
        <p:spPr>
          <a:xfrm>
            <a:off x="8850187" y="3243605"/>
            <a:ext cx="155448" cy="155448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1459778" y="199134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40" name="Oval 39"/>
          <p:cNvSpPr/>
          <p:nvPr/>
        </p:nvSpPr>
        <p:spPr>
          <a:xfrm>
            <a:off x="8848034" y="3239500"/>
            <a:ext cx="155448" cy="155448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pic>
        <p:nvPicPr>
          <p:cNvPr id="42" name="Picture 41" descr="restful-services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1051" y="4801804"/>
            <a:ext cx="577726" cy="577726"/>
          </a:xfrm>
          <a:prstGeom prst="rect">
            <a:avLst/>
          </a:prstGeom>
        </p:spPr>
      </p:pic>
      <p:pic>
        <p:nvPicPr>
          <p:cNvPr id="45" name="Picture 44" descr="people-pm-woman-512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7807" y="4705975"/>
            <a:ext cx="611672" cy="611831"/>
          </a:xfrm>
          <a:prstGeom prst="rect">
            <a:avLst/>
          </a:prstGeom>
        </p:spPr>
      </p:pic>
      <p:pic>
        <p:nvPicPr>
          <p:cNvPr id="60" name="Picture 59" descr="people-developer-man-51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7071" y="4025489"/>
            <a:ext cx="381000" cy="381000"/>
          </a:xfrm>
          <a:prstGeom prst="rect">
            <a:avLst/>
          </a:prstGeom>
        </p:spPr>
      </p:pic>
      <p:pic>
        <p:nvPicPr>
          <p:cNvPr id="61" name="Picture 60" descr="people-executive-woman-512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6103" y="4025489"/>
            <a:ext cx="381000" cy="381000"/>
          </a:xfrm>
          <a:prstGeom prst="rect">
            <a:avLst/>
          </a:prstGeom>
        </p:spPr>
      </p:pic>
      <p:pic>
        <p:nvPicPr>
          <p:cNvPr id="62" name="Picture 61" descr="restful-services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995309" y="3620898"/>
            <a:ext cx="369766" cy="369766"/>
          </a:xfrm>
          <a:prstGeom prst="rect">
            <a:avLst/>
          </a:prstGeom>
        </p:spPr>
      </p:pic>
      <p:pic>
        <p:nvPicPr>
          <p:cNvPr id="63" name="Picture 62" descr="restful-services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9866388" y="3620898"/>
            <a:ext cx="369766" cy="369766"/>
          </a:xfrm>
          <a:prstGeom prst="rect">
            <a:avLst/>
          </a:prstGeom>
        </p:spPr>
      </p:pic>
      <p:sp>
        <p:nvSpPr>
          <p:cNvPr id="64" name="TextBox 63"/>
          <p:cNvSpPr txBox="1"/>
          <p:nvPr/>
        </p:nvSpPr>
        <p:spPr>
          <a:xfrm>
            <a:off x="8498630" y="1805615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rgbClr val="5F5F5F"/>
                </a:solidFill>
                <a:latin typeface="Calibri"/>
              </a:rPr>
              <a:t>CRM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9151794" y="1027223"/>
            <a:ext cx="2735945" cy="2433806"/>
            <a:chOff x="9150205" y="1027223"/>
            <a:chExt cx="2735945" cy="2433806"/>
          </a:xfrm>
        </p:grpSpPr>
        <p:pic>
          <p:nvPicPr>
            <p:cNvPr id="50" name="Picture 49" descr="pdb-clone-red.png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78448" y="1953327"/>
              <a:ext cx="1507702" cy="1507702"/>
            </a:xfrm>
            <a:prstGeom prst="rect">
              <a:avLst/>
            </a:prstGeom>
          </p:spPr>
        </p:pic>
        <p:pic>
          <p:nvPicPr>
            <p:cNvPr id="8" name="Picture 7" descr="pdb-clone-red.png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94089" y="1953327"/>
              <a:ext cx="1507702" cy="1507702"/>
            </a:xfrm>
            <a:prstGeom prst="rect">
              <a:avLst/>
            </a:prstGeom>
          </p:spPr>
        </p:pic>
        <p:sp>
          <p:nvSpPr>
            <p:cNvPr id="52" name="Freeform 51"/>
            <p:cNvSpPr/>
            <p:nvPr/>
          </p:nvSpPr>
          <p:spPr>
            <a:xfrm rot="5400000">
              <a:off x="9458440" y="1229178"/>
              <a:ext cx="341493" cy="853983"/>
            </a:xfrm>
            <a:custGeom>
              <a:avLst/>
              <a:gdLst>
                <a:gd name="connsiteX0" fmla="*/ 995246 w 995246"/>
                <a:gd name="connsiteY0" fmla="*/ 1945901 h 1945901"/>
                <a:gd name="connsiteX1" fmla="*/ 13 w 995246"/>
                <a:gd name="connsiteY1" fmla="*/ 779846 h 1945901"/>
                <a:gd name="connsiteX2" fmla="*/ 972965 w 995246"/>
                <a:gd name="connsiteY2" fmla="*/ 0 h 1945901"/>
                <a:gd name="connsiteX0" fmla="*/ 995246 w 995246"/>
                <a:gd name="connsiteY0" fmla="*/ 1945901 h 1945986"/>
                <a:gd name="connsiteX1" fmla="*/ 13 w 995246"/>
                <a:gd name="connsiteY1" fmla="*/ 779846 h 1945986"/>
                <a:gd name="connsiteX2" fmla="*/ 972965 w 995246"/>
                <a:gd name="connsiteY2" fmla="*/ 0 h 1945986"/>
                <a:gd name="connsiteX0" fmla="*/ 995444 w 995444"/>
                <a:gd name="connsiteY0" fmla="*/ 1945901 h 1945986"/>
                <a:gd name="connsiteX1" fmla="*/ 211 w 995444"/>
                <a:gd name="connsiteY1" fmla="*/ 779846 h 1945986"/>
                <a:gd name="connsiteX2" fmla="*/ 973163 w 995444"/>
                <a:gd name="connsiteY2" fmla="*/ 0 h 1945986"/>
                <a:gd name="connsiteX0" fmla="*/ 988047 w 988047"/>
                <a:gd name="connsiteY0" fmla="*/ 1945901 h 1946011"/>
                <a:gd name="connsiteX1" fmla="*/ 241 w 988047"/>
                <a:gd name="connsiteY1" fmla="*/ 972951 h 1946011"/>
                <a:gd name="connsiteX2" fmla="*/ 965766 w 988047"/>
                <a:gd name="connsiteY2" fmla="*/ 0 h 1946011"/>
                <a:gd name="connsiteX0" fmla="*/ 610881 w 610881"/>
                <a:gd name="connsiteY0" fmla="*/ 1945901 h 1946011"/>
                <a:gd name="connsiteX1" fmla="*/ 120692 w 610881"/>
                <a:gd name="connsiteY1" fmla="*/ 972951 h 1946011"/>
                <a:gd name="connsiteX2" fmla="*/ 588600 w 610881"/>
                <a:gd name="connsiteY2" fmla="*/ 0 h 1946011"/>
                <a:gd name="connsiteX0" fmla="*/ 610881 w 610881"/>
                <a:gd name="connsiteY0" fmla="*/ 1945901 h 1946011"/>
                <a:gd name="connsiteX1" fmla="*/ 120692 w 610881"/>
                <a:gd name="connsiteY1" fmla="*/ 972951 h 1946011"/>
                <a:gd name="connsiteX2" fmla="*/ 588600 w 610881"/>
                <a:gd name="connsiteY2" fmla="*/ 0 h 1946011"/>
                <a:gd name="connsiteX0" fmla="*/ 490243 w 490243"/>
                <a:gd name="connsiteY0" fmla="*/ 1945901 h 1946011"/>
                <a:gd name="connsiteX1" fmla="*/ 54 w 490243"/>
                <a:gd name="connsiteY1" fmla="*/ 972951 h 1946011"/>
                <a:gd name="connsiteX2" fmla="*/ 467962 w 490243"/>
                <a:gd name="connsiteY2" fmla="*/ 0 h 1946011"/>
                <a:gd name="connsiteX0" fmla="*/ 467969 w 467969"/>
                <a:gd name="connsiteY0" fmla="*/ 1945901 h 1946017"/>
                <a:gd name="connsiteX1" fmla="*/ 61 w 467969"/>
                <a:gd name="connsiteY1" fmla="*/ 1010087 h 1946017"/>
                <a:gd name="connsiteX2" fmla="*/ 445688 w 467969"/>
                <a:gd name="connsiteY2" fmla="*/ 0 h 1946017"/>
                <a:gd name="connsiteX0" fmla="*/ 467969 w 467969"/>
                <a:gd name="connsiteY0" fmla="*/ 1945901 h 1946099"/>
                <a:gd name="connsiteX1" fmla="*/ 61 w 467969"/>
                <a:gd name="connsiteY1" fmla="*/ 1010087 h 1946099"/>
                <a:gd name="connsiteX2" fmla="*/ 445688 w 467969"/>
                <a:gd name="connsiteY2" fmla="*/ 0 h 1946099"/>
                <a:gd name="connsiteX0" fmla="*/ 467966 w 467966"/>
                <a:gd name="connsiteY0" fmla="*/ 1945901 h 1946131"/>
                <a:gd name="connsiteX1" fmla="*/ 58 w 467966"/>
                <a:gd name="connsiteY1" fmla="*/ 1010087 h 1946131"/>
                <a:gd name="connsiteX2" fmla="*/ 445685 w 467966"/>
                <a:gd name="connsiteY2" fmla="*/ 0 h 1946131"/>
                <a:gd name="connsiteX0" fmla="*/ 467966 w 467966"/>
                <a:gd name="connsiteY0" fmla="*/ 1945901 h 1946131"/>
                <a:gd name="connsiteX1" fmla="*/ 58 w 467966"/>
                <a:gd name="connsiteY1" fmla="*/ 1010087 h 1946131"/>
                <a:gd name="connsiteX2" fmla="*/ 445685 w 467966"/>
                <a:gd name="connsiteY2" fmla="*/ 0 h 1946131"/>
                <a:gd name="connsiteX0" fmla="*/ 467948 w 467948"/>
                <a:gd name="connsiteY0" fmla="*/ 1945901 h 1945901"/>
                <a:gd name="connsiteX1" fmla="*/ 40 w 467948"/>
                <a:gd name="connsiteY1" fmla="*/ 1010087 h 1945901"/>
                <a:gd name="connsiteX2" fmla="*/ 445667 w 467948"/>
                <a:gd name="connsiteY2" fmla="*/ 0 h 1945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7948" h="1945901">
                  <a:moveTo>
                    <a:pt x="467948" y="1945901"/>
                  </a:moveTo>
                  <a:cubicBezTo>
                    <a:pt x="257109" y="1848018"/>
                    <a:pt x="-3674" y="1646342"/>
                    <a:pt x="40" y="1010087"/>
                  </a:cubicBezTo>
                  <a:cubicBezTo>
                    <a:pt x="3754" y="373832"/>
                    <a:pt x="157003" y="76809"/>
                    <a:pt x="445667" y="0"/>
                  </a:cubicBezTo>
                </a:path>
              </a:pathLst>
            </a:custGeom>
            <a:ln w="25400">
              <a:solidFill>
                <a:schemeClr val="tx2"/>
              </a:solidFill>
              <a:headEnd type="none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n w="57150" cmpd="sng">
                  <a:solidFill>
                    <a:srgbClr val="5F5F5F"/>
                  </a:solidFill>
                </a:ln>
              </a:endParaRPr>
            </a:p>
          </p:txBody>
        </p:sp>
        <p:sp>
          <p:nvSpPr>
            <p:cNvPr id="53" name="Freeform 52"/>
            <p:cNvSpPr/>
            <p:nvPr/>
          </p:nvSpPr>
          <p:spPr>
            <a:xfrm rot="5400000">
              <a:off x="9870637" y="512467"/>
              <a:ext cx="571886" cy="2012749"/>
            </a:xfrm>
            <a:custGeom>
              <a:avLst/>
              <a:gdLst>
                <a:gd name="connsiteX0" fmla="*/ 995246 w 995246"/>
                <a:gd name="connsiteY0" fmla="*/ 1945901 h 1945901"/>
                <a:gd name="connsiteX1" fmla="*/ 13 w 995246"/>
                <a:gd name="connsiteY1" fmla="*/ 779846 h 1945901"/>
                <a:gd name="connsiteX2" fmla="*/ 972965 w 995246"/>
                <a:gd name="connsiteY2" fmla="*/ 0 h 1945901"/>
                <a:gd name="connsiteX0" fmla="*/ 995246 w 995246"/>
                <a:gd name="connsiteY0" fmla="*/ 1945901 h 1945986"/>
                <a:gd name="connsiteX1" fmla="*/ 13 w 995246"/>
                <a:gd name="connsiteY1" fmla="*/ 779846 h 1945986"/>
                <a:gd name="connsiteX2" fmla="*/ 972965 w 995246"/>
                <a:gd name="connsiteY2" fmla="*/ 0 h 1945986"/>
                <a:gd name="connsiteX0" fmla="*/ 995444 w 995444"/>
                <a:gd name="connsiteY0" fmla="*/ 1945901 h 1945986"/>
                <a:gd name="connsiteX1" fmla="*/ 211 w 995444"/>
                <a:gd name="connsiteY1" fmla="*/ 779846 h 1945986"/>
                <a:gd name="connsiteX2" fmla="*/ 973163 w 995444"/>
                <a:gd name="connsiteY2" fmla="*/ 0 h 1945986"/>
                <a:gd name="connsiteX0" fmla="*/ 988047 w 988047"/>
                <a:gd name="connsiteY0" fmla="*/ 1945901 h 1946011"/>
                <a:gd name="connsiteX1" fmla="*/ 241 w 988047"/>
                <a:gd name="connsiteY1" fmla="*/ 972951 h 1946011"/>
                <a:gd name="connsiteX2" fmla="*/ 965766 w 988047"/>
                <a:gd name="connsiteY2" fmla="*/ 0 h 1946011"/>
                <a:gd name="connsiteX0" fmla="*/ 610881 w 610881"/>
                <a:gd name="connsiteY0" fmla="*/ 1945901 h 1946011"/>
                <a:gd name="connsiteX1" fmla="*/ 120692 w 610881"/>
                <a:gd name="connsiteY1" fmla="*/ 972951 h 1946011"/>
                <a:gd name="connsiteX2" fmla="*/ 588600 w 610881"/>
                <a:gd name="connsiteY2" fmla="*/ 0 h 1946011"/>
                <a:gd name="connsiteX0" fmla="*/ 610881 w 610881"/>
                <a:gd name="connsiteY0" fmla="*/ 1945901 h 1946011"/>
                <a:gd name="connsiteX1" fmla="*/ 120692 w 610881"/>
                <a:gd name="connsiteY1" fmla="*/ 972951 h 1946011"/>
                <a:gd name="connsiteX2" fmla="*/ 588600 w 610881"/>
                <a:gd name="connsiteY2" fmla="*/ 0 h 1946011"/>
                <a:gd name="connsiteX0" fmla="*/ 490243 w 490243"/>
                <a:gd name="connsiteY0" fmla="*/ 1945901 h 1946011"/>
                <a:gd name="connsiteX1" fmla="*/ 54 w 490243"/>
                <a:gd name="connsiteY1" fmla="*/ 972951 h 1946011"/>
                <a:gd name="connsiteX2" fmla="*/ 467962 w 490243"/>
                <a:gd name="connsiteY2" fmla="*/ 0 h 1946011"/>
                <a:gd name="connsiteX0" fmla="*/ 467969 w 467969"/>
                <a:gd name="connsiteY0" fmla="*/ 1945901 h 1946017"/>
                <a:gd name="connsiteX1" fmla="*/ 61 w 467969"/>
                <a:gd name="connsiteY1" fmla="*/ 1010087 h 1946017"/>
                <a:gd name="connsiteX2" fmla="*/ 445688 w 467969"/>
                <a:gd name="connsiteY2" fmla="*/ 0 h 1946017"/>
                <a:gd name="connsiteX0" fmla="*/ 467969 w 467969"/>
                <a:gd name="connsiteY0" fmla="*/ 1945901 h 1946099"/>
                <a:gd name="connsiteX1" fmla="*/ 61 w 467969"/>
                <a:gd name="connsiteY1" fmla="*/ 1010087 h 1946099"/>
                <a:gd name="connsiteX2" fmla="*/ 445688 w 467969"/>
                <a:gd name="connsiteY2" fmla="*/ 0 h 1946099"/>
                <a:gd name="connsiteX0" fmla="*/ 467966 w 467966"/>
                <a:gd name="connsiteY0" fmla="*/ 1945901 h 1946131"/>
                <a:gd name="connsiteX1" fmla="*/ 58 w 467966"/>
                <a:gd name="connsiteY1" fmla="*/ 1010087 h 1946131"/>
                <a:gd name="connsiteX2" fmla="*/ 445685 w 467966"/>
                <a:gd name="connsiteY2" fmla="*/ 0 h 1946131"/>
                <a:gd name="connsiteX0" fmla="*/ 467966 w 467966"/>
                <a:gd name="connsiteY0" fmla="*/ 1945901 h 1946131"/>
                <a:gd name="connsiteX1" fmla="*/ 58 w 467966"/>
                <a:gd name="connsiteY1" fmla="*/ 1010087 h 1946131"/>
                <a:gd name="connsiteX2" fmla="*/ 445685 w 467966"/>
                <a:gd name="connsiteY2" fmla="*/ 0 h 1946131"/>
                <a:gd name="connsiteX0" fmla="*/ 467948 w 467948"/>
                <a:gd name="connsiteY0" fmla="*/ 1945901 h 1945901"/>
                <a:gd name="connsiteX1" fmla="*/ 40 w 467948"/>
                <a:gd name="connsiteY1" fmla="*/ 1010087 h 1945901"/>
                <a:gd name="connsiteX2" fmla="*/ 445667 w 467948"/>
                <a:gd name="connsiteY2" fmla="*/ 0 h 1945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7948" h="1945901">
                  <a:moveTo>
                    <a:pt x="467948" y="1945901"/>
                  </a:moveTo>
                  <a:cubicBezTo>
                    <a:pt x="257109" y="1848018"/>
                    <a:pt x="-3674" y="1646342"/>
                    <a:pt x="40" y="1010087"/>
                  </a:cubicBezTo>
                  <a:cubicBezTo>
                    <a:pt x="3754" y="373832"/>
                    <a:pt x="157003" y="76809"/>
                    <a:pt x="445667" y="0"/>
                  </a:cubicBezTo>
                </a:path>
              </a:pathLst>
            </a:custGeom>
            <a:ln w="25400">
              <a:solidFill>
                <a:schemeClr val="tx2"/>
              </a:solidFill>
              <a:headEnd type="none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n w="57150" cmpd="sng">
                  <a:solidFill>
                    <a:srgbClr val="5F5F5F"/>
                  </a:solidFill>
                </a:ln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9358165" y="1324308"/>
              <a:ext cx="1411152" cy="16853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srgbClr val="5F5F5F"/>
                  </a:solidFill>
                  <a:latin typeface="Calibri"/>
                </a:rPr>
                <a:t>Snap Clone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9335883" y="1027223"/>
              <a:ext cx="1411152" cy="16853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srgbClr val="5F5F5F"/>
                  </a:solidFill>
                  <a:latin typeface="Calibri"/>
                </a:rPr>
                <a:t>Snap Clone</a:t>
              </a: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9618536" y="1775906"/>
              <a:ext cx="866362" cy="3618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rgbClr val="5F5F5F"/>
                  </a:solidFill>
                  <a:latin typeface="Calibri"/>
                </a:rPr>
                <a:t>CRM Dev1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10732604" y="1775906"/>
              <a:ext cx="866362" cy="3618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rgbClr val="5F5F5F"/>
                  </a:solidFill>
                  <a:latin typeface="Calibri"/>
                </a:rPr>
                <a:t>CRM Dev2</a:t>
              </a:r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9931642" y="3671273"/>
            <a:ext cx="1411152" cy="16853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rgbClr val="5F5F5F"/>
                </a:solidFill>
                <a:latin typeface="Calibri"/>
              </a:rPr>
              <a:t>Developers</a:t>
            </a:r>
          </a:p>
        </p:txBody>
      </p:sp>
      <p:pic>
        <p:nvPicPr>
          <p:cNvPr id="32" name="Picture 31" descr="pdb-container-2hot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4534" y="3124151"/>
            <a:ext cx="3110109" cy="388764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551533" y="4654469"/>
            <a:ext cx="755787" cy="856913"/>
          </a:xfrm>
          <a:prstGeom prst="rect">
            <a:avLst/>
          </a:prstGeom>
        </p:spPr>
      </p:pic>
      <p:grpSp>
        <p:nvGrpSpPr>
          <p:cNvPr id="23" name="Group 22"/>
          <p:cNvGrpSpPr/>
          <p:nvPr/>
        </p:nvGrpSpPr>
        <p:grpSpPr>
          <a:xfrm>
            <a:off x="9503886" y="5433944"/>
            <a:ext cx="2099172" cy="826408"/>
            <a:chOff x="9502298" y="5433944"/>
            <a:chExt cx="2099172" cy="826408"/>
          </a:xfrm>
        </p:grpSpPr>
        <p:pic>
          <p:nvPicPr>
            <p:cNvPr id="17" name="Picture 16" descr="history-5x.png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02298" y="5433944"/>
              <a:ext cx="826408" cy="826408"/>
            </a:xfrm>
            <a:prstGeom prst="rect">
              <a:avLst/>
            </a:prstGeom>
          </p:spPr>
        </p:pic>
        <p:sp>
          <p:nvSpPr>
            <p:cNvPr id="18" name="Right Arrow 17"/>
            <p:cNvSpPr/>
            <p:nvPr/>
          </p:nvSpPr>
          <p:spPr>
            <a:xfrm>
              <a:off x="10256806" y="5550648"/>
              <a:ext cx="1344664" cy="612588"/>
            </a:xfrm>
            <a:prstGeom prst="rightArrow">
              <a:avLst/>
            </a:prstGeom>
            <a:solidFill>
              <a:srgbClr val="BCCBD0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/>
                <a:t>TIME</a:t>
              </a:r>
            </a:p>
          </p:txBody>
        </p:sp>
      </p:grpSp>
      <p:pic>
        <p:nvPicPr>
          <p:cNvPr id="22" name="Picture 2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550053" y="2136586"/>
            <a:ext cx="737193" cy="908328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9251844" y="4590154"/>
            <a:ext cx="1768528" cy="15366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rgbClr val="5F5F5F"/>
                </a:solidFill>
                <a:latin typeface="Calibri"/>
              </a:rPr>
              <a:t>Changes made to database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6689511" y="2221978"/>
            <a:ext cx="1768528" cy="15366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rgbClr val="5F5F5F"/>
                </a:solidFill>
                <a:latin typeface="Calibri"/>
              </a:rPr>
              <a:t>Cloned version no longer in sync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6189001" y="2510361"/>
            <a:ext cx="2338917" cy="2413522"/>
            <a:chOff x="6187412" y="2510361"/>
            <a:chExt cx="2338917" cy="2413522"/>
          </a:xfrm>
        </p:grpSpPr>
        <p:sp>
          <p:nvSpPr>
            <p:cNvPr id="59" name="Freeform 58"/>
            <p:cNvSpPr/>
            <p:nvPr/>
          </p:nvSpPr>
          <p:spPr>
            <a:xfrm>
              <a:off x="8073293" y="2510361"/>
              <a:ext cx="453036" cy="2413522"/>
            </a:xfrm>
            <a:custGeom>
              <a:avLst/>
              <a:gdLst>
                <a:gd name="connsiteX0" fmla="*/ 995246 w 995246"/>
                <a:gd name="connsiteY0" fmla="*/ 1945901 h 1945901"/>
                <a:gd name="connsiteX1" fmla="*/ 13 w 995246"/>
                <a:gd name="connsiteY1" fmla="*/ 779846 h 1945901"/>
                <a:gd name="connsiteX2" fmla="*/ 972965 w 995246"/>
                <a:gd name="connsiteY2" fmla="*/ 0 h 1945901"/>
                <a:gd name="connsiteX0" fmla="*/ 995246 w 995246"/>
                <a:gd name="connsiteY0" fmla="*/ 1945901 h 1945986"/>
                <a:gd name="connsiteX1" fmla="*/ 13 w 995246"/>
                <a:gd name="connsiteY1" fmla="*/ 779846 h 1945986"/>
                <a:gd name="connsiteX2" fmla="*/ 972965 w 995246"/>
                <a:gd name="connsiteY2" fmla="*/ 0 h 1945986"/>
                <a:gd name="connsiteX0" fmla="*/ 995444 w 995444"/>
                <a:gd name="connsiteY0" fmla="*/ 1945901 h 1945986"/>
                <a:gd name="connsiteX1" fmla="*/ 211 w 995444"/>
                <a:gd name="connsiteY1" fmla="*/ 779846 h 1945986"/>
                <a:gd name="connsiteX2" fmla="*/ 973163 w 995444"/>
                <a:gd name="connsiteY2" fmla="*/ 0 h 1945986"/>
                <a:gd name="connsiteX0" fmla="*/ 988047 w 988047"/>
                <a:gd name="connsiteY0" fmla="*/ 1945901 h 1946011"/>
                <a:gd name="connsiteX1" fmla="*/ 241 w 988047"/>
                <a:gd name="connsiteY1" fmla="*/ 972951 h 1946011"/>
                <a:gd name="connsiteX2" fmla="*/ 965766 w 988047"/>
                <a:gd name="connsiteY2" fmla="*/ 0 h 1946011"/>
                <a:gd name="connsiteX0" fmla="*/ 610881 w 610881"/>
                <a:gd name="connsiteY0" fmla="*/ 1945901 h 1946011"/>
                <a:gd name="connsiteX1" fmla="*/ 120692 w 610881"/>
                <a:gd name="connsiteY1" fmla="*/ 972951 h 1946011"/>
                <a:gd name="connsiteX2" fmla="*/ 588600 w 610881"/>
                <a:gd name="connsiteY2" fmla="*/ 0 h 1946011"/>
                <a:gd name="connsiteX0" fmla="*/ 610881 w 610881"/>
                <a:gd name="connsiteY0" fmla="*/ 1945901 h 1946011"/>
                <a:gd name="connsiteX1" fmla="*/ 120692 w 610881"/>
                <a:gd name="connsiteY1" fmla="*/ 972951 h 1946011"/>
                <a:gd name="connsiteX2" fmla="*/ 588600 w 610881"/>
                <a:gd name="connsiteY2" fmla="*/ 0 h 1946011"/>
                <a:gd name="connsiteX0" fmla="*/ 490243 w 490243"/>
                <a:gd name="connsiteY0" fmla="*/ 1945901 h 1946011"/>
                <a:gd name="connsiteX1" fmla="*/ 54 w 490243"/>
                <a:gd name="connsiteY1" fmla="*/ 972951 h 1946011"/>
                <a:gd name="connsiteX2" fmla="*/ 467962 w 490243"/>
                <a:gd name="connsiteY2" fmla="*/ 0 h 1946011"/>
                <a:gd name="connsiteX0" fmla="*/ 467969 w 467969"/>
                <a:gd name="connsiteY0" fmla="*/ 1945901 h 1946017"/>
                <a:gd name="connsiteX1" fmla="*/ 61 w 467969"/>
                <a:gd name="connsiteY1" fmla="*/ 1010087 h 1946017"/>
                <a:gd name="connsiteX2" fmla="*/ 445688 w 467969"/>
                <a:gd name="connsiteY2" fmla="*/ 0 h 1946017"/>
                <a:gd name="connsiteX0" fmla="*/ 467969 w 467969"/>
                <a:gd name="connsiteY0" fmla="*/ 1945901 h 1946099"/>
                <a:gd name="connsiteX1" fmla="*/ 61 w 467969"/>
                <a:gd name="connsiteY1" fmla="*/ 1010087 h 1946099"/>
                <a:gd name="connsiteX2" fmla="*/ 445688 w 467969"/>
                <a:gd name="connsiteY2" fmla="*/ 0 h 1946099"/>
                <a:gd name="connsiteX0" fmla="*/ 467966 w 467966"/>
                <a:gd name="connsiteY0" fmla="*/ 1945901 h 1946131"/>
                <a:gd name="connsiteX1" fmla="*/ 58 w 467966"/>
                <a:gd name="connsiteY1" fmla="*/ 1010087 h 1946131"/>
                <a:gd name="connsiteX2" fmla="*/ 445685 w 467966"/>
                <a:gd name="connsiteY2" fmla="*/ 0 h 1946131"/>
                <a:gd name="connsiteX0" fmla="*/ 467966 w 467966"/>
                <a:gd name="connsiteY0" fmla="*/ 1945901 h 1946131"/>
                <a:gd name="connsiteX1" fmla="*/ 58 w 467966"/>
                <a:gd name="connsiteY1" fmla="*/ 1010087 h 1946131"/>
                <a:gd name="connsiteX2" fmla="*/ 445685 w 467966"/>
                <a:gd name="connsiteY2" fmla="*/ 0 h 1946131"/>
                <a:gd name="connsiteX0" fmla="*/ 467948 w 467948"/>
                <a:gd name="connsiteY0" fmla="*/ 1945901 h 1945901"/>
                <a:gd name="connsiteX1" fmla="*/ 40 w 467948"/>
                <a:gd name="connsiteY1" fmla="*/ 1010087 h 1945901"/>
                <a:gd name="connsiteX2" fmla="*/ 445667 w 467948"/>
                <a:gd name="connsiteY2" fmla="*/ 0 h 1945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7948" h="1945901">
                  <a:moveTo>
                    <a:pt x="467948" y="1945901"/>
                  </a:moveTo>
                  <a:cubicBezTo>
                    <a:pt x="257109" y="1848018"/>
                    <a:pt x="-3674" y="1646342"/>
                    <a:pt x="40" y="1010087"/>
                  </a:cubicBezTo>
                  <a:cubicBezTo>
                    <a:pt x="3754" y="373832"/>
                    <a:pt x="157003" y="76809"/>
                    <a:pt x="445667" y="0"/>
                  </a:cubicBezTo>
                </a:path>
              </a:pathLst>
            </a:custGeom>
            <a:ln w="25400">
              <a:solidFill>
                <a:schemeClr val="tx2"/>
              </a:solidFill>
              <a:headEnd type="none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n w="57150" cmpd="sng">
                  <a:solidFill>
                    <a:srgbClr val="5F5F5F"/>
                  </a:solidFill>
                </a:ln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6187412" y="3529330"/>
              <a:ext cx="1768528" cy="15366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srgbClr val="5F5F5F"/>
                  </a:solidFill>
                  <a:latin typeface="Calibri"/>
                </a:rPr>
                <a:t>Only changes copied and applied</a:t>
              </a:r>
            </a:p>
          </p:txBody>
        </p:sp>
      </p:grpSp>
      <p:pic>
        <p:nvPicPr>
          <p:cNvPr id="70" name="Picture 69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855781" y="3241336"/>
            <a:ext cx="157988" cy="157988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971427" y="3241022"/>
            <a:ext cx="157927" cy="157927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1066802" y="3241022"/>
            <a:ext cx="157927" cy="157927"/>
          </a:xfrm>
          <a:prstGeom prst="rect">
            <a:avLst/>
          </a:prstGeom>
        </p:spPr>
      </p:pic>
      <p:grpSp>
        <p:nvGrpSpPr>
          <p:cNvPr id="71" name="Group 70"/>
          <p:cNvGrpSpPr/>
          <p:nvPr/>
        </p:nvGrpSpPr>
        <p:grpSpPr>
          <a:xfrm>
            <a:off x="9972454" y="3239418"/>
            <a:ext cx="1253363" cy="161163"/>
            <a:chOff x="9967690" y="3239417"/>
            <a:chExt cx="1253363" cy="161163"/>
          </a:xfrm>
        </p:grpSpPr>
        <p:pic>
          <p:nvPicPr>
            <p:cNvPr id="72" name="Picture 71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9967690" y="3239417"/>
              <a:ext cx="157988" cy="157988"/>
            </a:xfrm>
            <a:prstGeom prst="rect">
              <a:avLst/>
            </a:prstGeom>
          </p:spPr>
        </p:pic>
        <p:pic>
          <p:nvPicPr>
            <p:cNvPr id="73" name="Picture 72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11063065" y="3242592"/>
              <a:ext cx="157988" cy="1579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81445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3.7037E-6 L -0.00117 -0.35949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5" y="-17986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000"/>
                            </p:stCondLst>
                            <p:childTnLst>
                              <p:par>
                                <p:cTn id="35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2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/>
      <p:bldP spid="58" grpId="0"/>
      <p:bldP spid="58" grpId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55" descr="pdb-down-red-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5427" y="4521128"/>
            <a:ext cx="1311093" cy="1311093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092894" y="1451214"/>
            <a:ext cx="3986581" cy="2343674"/>
          </a:xfrm>
          <a:prstGeom prst="rect">
            <a:avLst/>
          </a:prstGeom>
        </p:spPr>
      </p:pic>
      <p:pic>
        <p:nvPicPr>
          <p:cNvPr id="29" name="Picture 28" descr="pdb-down-red-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8028" y="4513725"/>
            <a:ext cx="1311093" cy="131109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DB Hot Clone </a:t>
            </a:r>
          </a:p>
          <a:p>
            <a:pPr lvl="1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Online test master instantiation</a:t>
            </a:r>
          </a:p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Refreshable PDB</a:t>
            </a:r>
          </a:p>
          <a:p>
            <a:pPr lvl="1">
              <a:buClr>
                <a:srgbClr val="5F5F5F">
                  <a:lumMod val="60000"/>
                  <a:lumOff val="40000"/>
                </a:srgbClr>
              </a:buClr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Incremental refresh of clone with latest data</a:t>
            </a:r>
          </a:p>
          <a:p>
            <a:r>
              <a:rPr lang="en-US" dirty="0"/>
              <a:t>Online PDB Relocation</a:t>
            </a:r>
          </a:p>
          <a:p>
            <a:pPr lvl="1"/>
            <a:r>
              <a:rPr lang="en-US" dirty="0"/>
              <a:t>Relocate with no downtime</a:t>
            </a:r>
          </a:p>
          <a:p>
            <a:pPr lvl="1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2" y="406400"/>
            <a:ext cx="11125199" cy="889000"/>
          </a:xfrm>
        </p:spPr>
        <p:txBody>
          <a:bodyPr/>
          <a:lstStyle/>
          <a:p>
            <a:r>
              <a:rPr lang="en-US" dirty="0"/>
              <a:t>Online PDB Relocation</a:t>
            </a:r>
          </a:p>
        </p:txBody>
      </p:sp>
      <p:pic>
        <p:nvPicPr>
          <p:cNvPr id="30" name="Picture 29" descr="pdb-down-red-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6143" y="2074877"/>
            <a:ext cx="1311093" cy="1311093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8453654" y="4285414"/>
            <a:ext cx="866362" cy="26825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rgbClr val="5F5F5F"/>
                </a:solidFill>
                <a:latin typeface="Calibri"/>
              </a:rPr>
              <a:t>CRM</a:t>
            </a:r>
          </a:p>
          <a:p>
            <a:pPr algn="ctr">
              <a:lnSpc>
                <a:spcPct val="90000"/>
              </a:lnSpc>
            </a:pPr>
            <a:endParaRPr lang="en-US" dirty="0">
              <a:solidFill>
                <a:srgbClr val="5F5F5F"/>
              </a:solidFill>
              <a:latin typeface="Calibri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9845853" y="1835167"/>
            <a:ext cx="477301" cy="3013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rgbClr val="5F5F5F"/>
                </a:solidFill>
                <a:latin typeface="Calibri"/>
              </a:rPr>
              <a:t>HR</a:t>
            </a:r>
          </a:p>
          <a:p>
            <a:pPr algn="ctr">
              <a:lnSpc>
                <a:spcPct val="90000"/>
              </a:lnSpc>
            </a:pPr>
            <a:endParaRPr lang="en-US" dirty="0">
              <a:solidFill>
                <a:srgbClr val="5F5F5F"/>
              </a:solidFill>
              <a:latin typeface="Calibri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8073049" y="3686128"/>
            <a:ext cx="4084602" cy="38534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rgbClr val="5F5F5F"/>
                </a:solidFill>
                <a:latin typeface="Calibri"/>
              </a:rPr>
              <a:t>Oracle Cloud</a:t>
            </a:r>
          </a:p>
        </p:txBody>
      </p:sp>
      <p:pic>
        <p:nvPicPr>
          <p:cNvPr id="36" name="Picture 35" descr="pdb-down-red-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1629" y="4525035"/>
            <a:ext cx="1311093" cy="1311093"/>
          </a:xfrm>
          <a:prstGeom prst="rect">
            <a:avLst/>
          </a:prstGeom>
        </p:spPr>
      </p:pic>
      <p:pic>
        <p:nvPicPr>
          <p:cNvPr id="37" name="Picture 36" descr="pdb-down-red-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9266" y="4525035"/>
            <a:ext cx="1311093" cy="1311093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6248214" y="4293696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rgbClr val="5F5F5F"/>
                </a:solidFill>
                <a:latin typeface="Calibri"/>
              </a:rPr>
              <a:t>Pricing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7341912" y="4293696"/>
            <a:ext cx="866362" cy="361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rgbClr val="5F5F5F"/>
                </a:solidFill>
                <a:latin typeface="Calibri"/>
              </a:rPr>
              <a:t>Retail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766014" y="6015352"/>
            <a:ext cx="4084602" cy="38534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rgbClr val="5F5F5F"/>
                </a:solidFill>
                <a:latin typeface="Calibri"/>
              </a:rPr>
              <a:t>On-Premises</a:t>
            </a:r>
          </a:p>
        </p:txBody>
      </p:sp>
      <p:pic>
        <p:nvPicPr>
          <p:cNvPr id="43" name="Picture 42" descr="pdb-container-3hot-2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612" y="5582388"/>
            <a:ext cx="3145536" cy="393192"/>
          </a:xfrm>
          <a:prstGeom prst="rect">
            <a:avLst/>
          </a:prstGeom>
        </p:spPr>
      </p:pic>
      <p:sp>
        <p:nvSpPr>
          <p:cNvPr id="44" name="TextBox 43"/>
          <p:cNvSpPr txBox="1"/>
          <p:nvPr/>
        </p:nvSpPr>
        <p:spPr>
          <a:xfrm>
            <a:off x="8485098" y="1857876"/>
            <a:ext cx="866362" cy="26825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rgbClr val="5F5F5F"/>
                </a:solidFill>
                <a:latin typeface="Calibri"/>
              </a:rPr>
              <a:t>CRM</a:t>
            </a:r>
          </a:p>
          <a:p>
            <a:pPr algn="ctr">
              <a:lnSpc>
                <a:spcPct val="90000"/>
              </a:lnSpc>
            </a:pPr>
            <a:endParaRPr lang="en-US" dirty="0">
              <a:solidFill>
                <a:srgbClr val="5F5F5F"/>
              </a:solidFill>
              <a:latin typeface="Calibri"/>
            </a:endParaRPr>
          </a:p>
        </p:txBody>
      </p:sp>
      <p:sp>
        <p:nvSpPr>
          <p:cNvPr id="46" name="Oval 45"/>
          <p:cNvSpPr/>
          <p:nvPr/>
        </p:nvSpPr>
        <p:spPr>
          <a:xfrm>
            <a:off x="8891853" y="3243605"/>
            <a:ext cx="155448" cy="155448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52" name="Oval 51"/>
          <p:cNvSpPr/>
          <p:nvPr/>
        </p:nvSpPr>
        <p:spPr>
          <a:xfrm>
            <a:off x="8842663" y="5701260"/>
            <a:ext cx="155448" cy="155448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pic>
        <p:nvPicPr>
          <p:cNvPr id="32" name="Picture 31" descr="pdb-container-2hot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6200" y="3124151"/>
            <a:ext cx="3110109" cy="388764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6156126" y="3098126"/>
            <a:ext cx="1545155" cy="609600"/>
            <a:chOff x="6154537" y="2791824"/>
            <a:chExt cx="1545155" cy="609600"/>
          </a:xfrm>
        </p:grpSpPr>
        <p:pic>
          <p:nvPicPr>
            <p:cNvPr id="40" name="Picture 39" descr="people-developer-man-512.png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54537" y="2791824"/>
              <a:ext cx="609442" cy="609600"/>
            </a:xfrm>
            <a:prstGeom prst="rect">
              <a:avLst/>
            </a:prstGeom>
          </p:spPr>
        </p:pic>
        <p:pic>
          <p:nvPicPr>
            <p:cNvPr id="42" name="Picture 41" descr="people-pm-woman-51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2740" y="2791824"/>
              <a:ext cx="609442" cy="609600"/>
            </a:xfrm>
            <a:prstGeom prst="rect">
              <a:avLst/>
            </a:prstGeom>
          </p:spPr>
        </p:pic>
        <p:pic>
          <p:nvPicPr>
            <p:cNvPr id="45" name="Picture 44" descr="people-executive-man-51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90250" y="2791824"/>
              <a:ext cx="609442" cy="609600"/>
            </a:xfrm>
            <a:prstGeom prst="rect">
              <a:avLst/>
            </a:prstGeom>
          </p:spPr>
        </p:pic>
      </p:grpSp>
      <p:pic>
        <p:nvPicPr>
          <p:cNvPr id="8" name="Picture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9578099">
            <a:off x="7553310" y="2871488"/>
            <a:ext cx="996786" cy="434343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979745">
            <a:off x="7554445" y="3745548"/>
            <a:ext cx="996786" cy="43434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891512" y="3240582"/>
            <a:ext cx="157988" cy="157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0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5202E-6 2.52722E-6 L 0.00352 -0.35488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9" y="-177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44" grpId="0"/>
      <p:bldP spid="46" grpId="0" animBg="1"/>
      <p:bldP spid="5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6E2F2-DDCA-024A-A635-6506058D7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fe harbor state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3B19A2-302A-1A47-94F9-13B5BAEC2B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dirty="0"/>
              <a:t>The following is intended to outline our general product direction. It is intended for information purposes only, and may not be incorporated into any contract. It is not a commitment to deliver any material, code, or functionality, and should not be relied upon in making purchasing decisions.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The development, release, timing, and pricing of any features or functionality described for Oracle’s products may change and remains at the sole discretion of Oracle Corporation.</a:t>
            </a:r>
          </a:p>
        </p:txBody>
      </p:sp>
    </p:spTree>
    <p:extLst>
      <p:ext uri="{BB962C8B-B14F-4D97-AF65-F5344CB8AC3E}">
        <p14:creationId xmlns:p14="http://schemas.microsoft.com/office/powerpoint/2010/main" val="3061104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2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solation and agility with economies of sca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antages of Multitenant Architectur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236955" y="4942449"/>
            <a:ext cx="789621" cy="78982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520498" y="4942449"/>
            <a:ext cx="2450226" cy="789827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829825" y="2308325"/>
            <a:ext cx="933765" cy="3386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GL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639301" y="2308325"/>
            <a:ext cx="962545" cy="3386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</a:lvl1pPr>
          </a:lstStyle>
          <a:p>
            <a:r>
              <a:rPr lang="en-US" dirty="0"/>
              <a:t>O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504568" y="1795434"/>
            <a:ext cx="933765" cy="3386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AP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5573032" y="1821703"/>
            <a:ext cx="6474174" cy="1600412"/>
            <a:chOff x="5565279" y="1821703"/>
            <a:chExt cx="6474174" cy="1600412"/>
          </a:xfrm>
        </p:grpSpPr>
        <p:sp>
          <p:nvSpPr>
            <p:cNvPr id="21" name="TextBox 20"/>
            <p:cNvSpPr txBox="1"/>
            <p:nvPr/>
          </p:nvSpPr>
          <p:spPr>
            <a:xfrm>
              <a:off x="6302401" y="1821703"/>
              <a:ext cx="5737052" cy="1600412"/>
            </a:xfrm>
            <a:prstGeom prst="rect">
              <a:avLst/>
            </a:prstGeom>
            <a:noFill/>
          </p:spPr>
          <p:txBody>
            <a:bodyPr wrap="square" lIns="121893" tIns="60947" rIns="121893" bIns="60947" rtlCol="0">
              <a:spAutoFit/>
            </a:bodyPr>
            <a:lstStyle/>
            <a:p>
              <a:r>
                <a:rPr lang="en-US" sz="2400" dirty="0"/>
                <a:t>Self-contained PDB for each application</a:t>
              </a:r>
            </a:p>
            <a:p>
              <a:pPr marL="457101" indent="-457101">
                <a:buFont typeface="Arial"/>
                <a:buChar char="•"/>
              </a:pPr>
              <a:r>
                <a:rPr lang="en-US" sz="2400" dirty="0"/>
                <a:t>Applications run unchanged</a:t>
              </a:r>
            </a:p>
            <a:p>
              <a:pPr marL="457101" indent="-457101">
                <a:buFont typeface="Arial"/>
                <a:buChar char="•"/>
              </a:pPr>
              <a:r>
                <a:rPr lang="en-US" sz="2400" dirty="0"/>
                <a:t>Rapid provisioning (via clones)</a:t>
              </a:r>
            </a:p>
            <a:p>
              <a:pPr marL="457101" indent="-457101">
                <a:buFont typeface="Arial"/>
                <a:buChar char="•"/>
              </a:pPr>
              <a:r>
                <a:rPr lang="en-US" sz="2400" dirty="0"/>
                <a:t>Portability (via </a:t>
              </a:r>
              <a:r>
                <a:rPr lang="en-US" sz="2400" dirty="0" err="1"/>
                <a:t>pluggability</a:t>
              </a:r>
              <a:r>
                <a:rPr lang="en-US" sz="2400" dirty="0"/>
                <a:t>)</a:t>
              </a:r>
            </a:p>
          </p:txBody>
        </p:sp>
        <p:cxnSp>
          <p:nvCxnSpPr>
            <p:cNvPr id="25" name="Straight Connector 24"/>
            <p:cNvCxnSpPr>
              <a:stCxn id="21" idx="1"/>
            </p:cNvCxnSpPr>
            <p:nvPr/>
          </p:nvCxnSpPr>
          <p:spPr>
            <a:xfrm flipH="1">
              <a:off x="5565279" y="2621909"/>
              <a:ext cx="737122" cy="204721"/>
            </a:xfrm>
            <a:prstGeom prst="line">
              <a:avLst/>
            </a:prstGeom>
            <a:ln w="19050">
              <a:solidFill>
                <a:schemeClr val="accent5"/>
              </a:solidFill>
              <a:miter lim="800000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/>
          <p:cNvGrpSpPr/>
          <p:nvPr/>
        </p:nvGrpSpPr>
        <p:grpSpPr>
          <a:xfrm>
            <a:off x="5716392" y="3486336"/>
            <a:ext cx="6312321" cy="1969744"/>
            <a:chOff x="5665483" y="3486336"/>
            <a:chExt cx="6312321" cy="1969744"/>
          </a:xfrm>
        </p:grpSpPr>
        <p:sp>
          <p:nvSpPr>
            <p:cNvPr id="23" name="TextBox 22"/>
            <p:cNvSpPr txBox="1"/>
            <p:nvPr/>
          </p:nvSpPr>
          <p:spPr>
            <a:xfrm>
              <a:off x="6240753" y="3486336"/>
              <a:ext cx="5737051" cy="1969744"/>
            </a:xfrm>
            <a:prstGeom prst="rect">
              <a:avLst/>
            </a:prstGeom>
            <a:noFill/>
          </p:spPr>
          <p:txBody>
            <a:bodyPr wrap="square" lIns="121893" tIns="60947" rIns="121893" bIns="60947" rtlCol="0">
              <a:spAutoFit/>
            </a:bodyPr>
            <a:lstStyle/>
            <a:p>
              <a:r>
                <a:rPr lang="en-US" sz="2400" dirty="0"/>
                <a:t>Common operations performed at CDB level</a:t>
              </a:r>
            </a:p>
            <a:p>
              <a:pPr marL="457101" indent="-457101">
                <a:buFont typeface="Arial"/>
                <a:buChar char="•"/>
              </a:pPr>
              <a:r>
                <a:rPr lang="en-US" sz="2400" dirty="0"/>
                <a:t>Manage many as one</a:t>
              </a:r>
              <a:br>
                <a:rPr lang="en-US" sz="2400" dirty="0"/>
              </a:br>
              <a:r>
                <a:rPr lang="en-US" sz="2400" dirty="0"/>
                <a:t>(upgrade, HA, backup)</a:t>
              </a:r>
            </a:p>
            <a:p>
              <a:pPr marL="457101" indent="-457101">
                <a:buFont typeface="Arial"/>
                <a:buChar char="•"/>
              </a:pPr>
              <a:r>
                <a:rPr lang="en-US" sz="2400" dirty="0"/>
                <a:t>Granular control when appropriate</a:t>
              </a:r>
            </a:p>
          </p:txBody>
        </p:sp>
        <p:cxnSp>
          <p:nvCxnSpPr>
            <p:cNvPr id="26" name="Straight Connector 25"/>
            <p:cNvCxnSpPr>
              <a:stCxn id="23" idx="1"/>
            </p:cNvCxnSpPr>
            <p:nvPr/>
          </p:nvCxnSpPr>
          <p:spPr>
            <a:xfrm flipH="1" flipV="1">
              <a:off x="5665483" y="4457857"/>
              <a:ext cx="575270" cy="13351"/>
            </a:xfrm>
            <a:prstGeom prst="line">
              <a:avLst/>
            </a:prstGeom>
            <a:ln w="19050">
              <a:solidFill>
                <a:schemeClr val="accent5"/>
              </a:solidFill>
              <a:miter lim="800000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/>
        </p:nvGrpSpPr>
        <p:grpSpPr>
          <a:xfrm>
            <a:off x="4970724" y="5265275"/>
            <a:ext cx="7051822" cy="1231080"/>
            <a:chOff x="4969136" y="5265275"/>
            <a:chExt cx="7051822" cy="1231080"/>
          </a:xfrm>
        </p:grpSpPr>
        <p:sp>
          <p:nvSpPr>
            <p:cNvPr id="22" name="TextBox 21"/>
            <p:cNvSpPr txBox="1"/>
            <p:nvPr/>
          </p:nvSpPr>
          <p:spPr>
            <a:xfrm>
              <a:off x="6283906" y="5265275"/>
              <a:ext cx="5737052" cy="1231080"/>
            </a:xfrm>
            <a:prstGeom prst="rect">
              <a:avLst/>
            </a:prstGeom>
            <a:noFill/>
          </p:spPr>
          <p:txBody>
            <a:bodyPr wrap="square" lIns="121893" tIns="60947" rIns="121893" bIns="60947" rtlCol="0">
              <a:spAutoFit/>
            </a:bodyPr>
            <a:lstStyle/>
            <a:p>
              <a:r>
                <a:rPr lang="en-US" sz="2400" dirty="0"/>
                <a:t>Shared memory and background processes</a:t>
              </a:r>
            </a:p>
            <a:p>
              <a:pPr marL="457101" indent="-457101">
                <a:buFont typeface="Arial"/>
                <a:buChar char="•"/>
              </a:pPr>
              <a:r>
                <a:rPr lang="en-US" sz="2400" dirty="0"/>
                <a:t>More applications per server</a:t>
              </a:r>
            </a:p>
          </p:txBody>
        </p:sp>
        <p:cxnSp>
          <p:nvCxnSpPr>
            <p:cNvPr id="28" name="Straight Connector 27"/>
            <p:cNvCxnSpPr>
              <a:stCxn id="22" idx="1"/>
              <a:endCxn id="12" idx="3"/>
            </p:cNvCxnSpPr>
            <p:nvPr/>
          </p:nvCxnSpPr>
          <p:spPr>
            <a:xfrm flipH="1" flipV="1">
              <a:off x="4969136" y="5337362"/>
              <a:ext cx="1314770" cy="543453"/>
            </a:xfrm>
            <a:prstGeom prst="line">
              <a:avLst/>
            </a:prstGeom>
            <a:ln w="19050">
              <a:solidFill>
                <a:schemeClr val="accent5"/>
              </a:solidFill>
              <a:miter lim="800000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/>
          <p:cNvGrpSpPr/>
          <p:nvPr/>
        </p:nvGrpSpPr>
        <p:grpSpPr>
          <a:xfrm>
            <a:off x="428866" y="3880331"/>
            <a:ext cx="5252160" cy="974128"/>
            <a:chOff x="325560" y="1434748"/>
            <a:chExt cx="4445000" cy="824208"/>
          </a:xfrm>
        </p:grpSpPr>
        <p:sp>
          <p:nvSpPr>
            <p:cNvPr id="6" name="Rectangle 30"/>
            <p:cNvSpPr/>
            <p:nvPr/>
          </p:nvSpPr>
          <p:spPr>
            <a:xfrm>
              <a:off x="325560" y="1434748"/>
              <a:ext cx="4445000" cy="824208"/>
            </a:xfrm>
            <a:custGeom>
              <a:avLst/>
              <a:gdLst/>
              <a:ahLst/>
              <a:cxnLst/>
              <a:rect l="l" t="t" r="r" b="b"/>
              <a:pathLst>
                <a:path w="4445000" h="824208">
                  <a:moveTo>
                    <a:pt x="437213" y="0"/>
                  </a:moveTo>
                  <a:lnTo>
                    <a:pt x="1004977" y="0"/>
                  </a:lnTo>
                  <a:lnTo>
                    <a:pt x="1004977" y="129443"/>
                  </a:lnTo>
                  <a:lnTo>
                    <a:pt x="2003892" y="129443"/>
                  </a:lnTo>
                  <a:lnTo>
                    <a:pt x="2003892" y="0"/>
                  </a:lnTo>
                  <a:lnTo>
                    <a:pt x="2571656" y="0"/>
                  </a:lnTo>
                  <a:lnTo>
                    <a:pt x="2571656" y="129443"/>
                  </a:lnTo>
                  <a:lnTo>
                    <a:pt x="3573084" y="129443"/>
                  </a:lnTo>
                  <a:lnTo>
                    <a:pt x="3573084" y="0"/>
                  </a:lnTo>
                  <a:lnTo>
                    <a:pt x="4140848" y="0"/>
                  </a:lnTo>
                  <a:lnTo>
                    <a:pt x="4140848" y="129443"/>
                  </a:lnTo>
                  <a:lnTo>
                    <a:pt x="4329204" y="129443"/>
                  </a:lnTo>
                  <a:cubicBezTo>
                    <a:pt x="4393156" y="129443"/>
                    <a:pt x="4445000" y="181287"/>
                    <a:pt x="4445000" y="245239"/>
                  </a:cubicBezTo>
                  <a:lnTo>
                    <a:pt x="4445000" y="708412"/>
                  </a:lnTo>
                  <a:cubicBezTo>
                    <a:pt x="4445000" y="772364"/>
                    <a:pt x="4393156" y="824208"/>
                    <a:pt x="4329204" y="824208"/>
                  </a:cubicBezTo>
                  <a:lnTo>
                    <a:pt x="115796" y="824208"/>
                  </a:lnTo>
                  <a:cubicBezTo>
                    <a:pt x="51844" y="824208"/>
                    <a:pt x="0" y="772364"/>
                    <a:pt x="0" y="708412"/>
                  </a:cubicBezTo>
                  <a:lnTo>
                    <a:pt x="0" y="245239"/>
                  </a:lnTo>
                  <a:cubicBezTo>
                    <a:pt x="0" y="181287"/>
                    <a:pt x="51844" y="129443"/>
                    <a:pt x="115796" y="129443"/>
                  </a:cubicBezTo>
                  <a:lnTo>
                    <a:pt x="437213" y="129443"/>
                  </a:lnTo>
                  <a:close/>
                </a:path>
              </a:pathLst>
            </a:custGeom>
            <a:solidFill>
              <a:srgbClr val="878787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7" name="Oval 6"/>
            <p:cNvSpPr>
              <a:spLocks noChangeAspect="1"/>
            </p:cNvSpPr>
            <p:nvPr/>
          </p:nvSpPr>
          <p:spPr>
            <a:xfrm>
              <a:off x="885800" y="1733791"/>
              <a:ext cx="317500" cy="317500"/>
            </a:xfrm>
            <a:prstGeom prst="ellipse">
              <a:avLst/>
            </a:prstGeom>
            <a:solidFill>
              <a:schemeClr val="accent1"/>
            </a:solidFill>
            <a:ln w="127000" cmpd="sng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>
                <a:ln w="1143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8" name="Oval 7"/>
            <p:cNvSpPr>
              <a:spLocks noChangeAspect="1"/>
            </p:cNvSpPr>
            <p:nvPr/>
          </p:nvSpPr>
          <p:spPr>
            <a:xfrm>
              <a:off x="2458121" y="1733791"/>
              <a:ext cx="317500" cy="317500"/>
            </a:xfrm>
            <a:prstGeom prst="ellipse">
              <a:avLst/>
            </a:prstGeom>
            <a:solidFill>
              <a:schemeClr val="accent1"/>
            </a:solidFill>
            <a:ln w="127000" cmpd="sng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ln w="1143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9" name="Oval 8"/>
            <p:cNvSpPr>
              <a:spLocks noChangeAspect="1"/>
            </p:cNvSpPr>
            <p:nvPr/>
          </p:nvSpPr>
          <p:spPr>
            <a:xfrm>
              <a:off x="4040839" y="1733791"/>
              <a:ext cx="317500" cy="317500"/>
            </a:xfrm>
            <a:prstGeom prst="ellipse">
              <a:avLst/>
            </a:prstGeom>
            <a:solidFill>
              <a:schemeClr val="tx2"/>
            </a:solidFill>
            <a:ln w="127000" cmpd="sng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>
                <a:ln w="114300" cmpd="sng">
                  <a:solidFill>
                    <a:schemeClr val="tx1"/>
                  </a:solidFill>
                </a:ln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97045" y="2545987"/>
            <a:ext cx="1523603" cy="1524000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342335" y="2536031"/>
            <a:ext cx="1523603" cy="1524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047868" y="2012855"/>
            <a:ext cx="1872111" cy="1872599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906902" y="5699572"/>
            <a:ext cx="4419599" cy="441080"/>
          </a:xfrm>
          <a:prstGeom prst="rect">
            <a:avLst/>
          </a:prstGeom>
          <a:noFill/>
        </p:spPr>
        <p:txBody>
          <a:bodyPr wrap="square" lIns="162497" tIns="81247" rIns="162497" bIns="81247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Complementary to VMs</a:t>
            </a:r>
          </a:p>
        </p:txBody>
      </p:sp>
    </p:spTree>
    <p:extLst>
      <p:ext uri="{BB962C8B-B14F-4D97-AF65-F5344CB8AC3E}">
        <p14:creationId xmlns:p14="http://schemas.microsoft.com/office/powerpoint/2010/main" val="3941726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C76E1649-D7AD-344B-AFE2-33772BA3C4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/>
              <a:t>Overview</a:t>
            </a:r>
            <a:endParaRPr lang="es-ES" dirty="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B5F6DC83-F56F-3E4F-91DD-51ACE9D9FB48}"/>
              </a:ext>
            </a:extLst>
          </p:cNvPr>
          <p:cNvSpPr txBox="1"/>
          <p:nvPr/>
        </p:nvSpPr>
        <p:spPr>
          <a:xfrm>
            <a:off x="3275730" y="2300748"/>
            <a:ext cx="5471652" cy="23449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s-ES" sz="4000" dirty="0" err="1">
                <a:solidFill>
                  <a:schemeClr val="bg1">
                    <a:lumMod val="85000"/>
                  </a:schemeClr>
                </a:solidFill>
              </a:rPr>
              <a:t>MultiTenant</a:t>
            </a:r>
            <a:endParaRPr lang="es-ES" sz="4000" dirty="0">
              <a:solidFill>
                <a:schemeClr val="bg1">
                  <a:lumMod val="85000"/>
                </a:schemeClr>
              </a:solidFill>
            </a:endParaRP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s-ES" sz="4000" dirty="0" err="1"/>
              <a:t>Multimodel</a:t>
            </a:r>
            <a:r>
              <a:rPr lang="es-ES" sz="4000" dirty="0"/>
              <a:t> - JSON</a:t>
            </a: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s-ES" sz="4000" dirty="0" err="1">
                <a:solidFill>
                  <a:schemeClr val="bg1">
                    <a:lumMod val="85000"/>
                  </a:schemeClr>
                </a:solidFill>
              </a:rPr>
              <a:t>InMemory</a:t>
            </a:r>
            <a:endParaRPr lang="es-ES" sz="4000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12238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What is JSON?</a:t>
            </a:r>
            <a:br>
              <a:rPr lang="en-US" dirty="0"/>
            </a:br>
            <a:endParaRPr kumimoji="1" lang="ja-JP" altLang="en-US" sz="2400" dirty="0">
              <a:solidFill>
                <a:srgbClr val="FF0000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D53A46-5D01-2745-9FFC-A57B7E28F0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/>
            <a:r>
              <a:rPr lang="en-US" dirty="0"/>
              <a:t>JSON stands for </a:t>
            </a:r>
            <a:r>
              <a:rPr lang="en-US" b="1" dirty="0">
                <a:solidFill>
                  <a:schemeClr val="accent1"/>
                </a:solidFill>
              </a:rPr>
              <a:t>J</a:t>
            </a:r>
            <a:r>
              <a:rPr lang="en-US" b="1" dirty="0"/>
              <a:t>ava</a:t>
            </a:r>
            <a:r>
              <a:rPr lang="en-US" b="1" dirty="0">
                <a:solidFill>
                  <a:schemeClr val="accent1"/>
                </a:solidFill>
              </a:rPr>
              <a:t>S</a:t>
            </a:r>
            <a:r>
              <a:rPr lang="en-US" b="1" dirty="0"/>
              <a:t>cript </a:t>
            </a:r>
            <a:r>
              <a:rPr lang="en-US" b="1" dirty="0">
                <a:solidFill>
                  <a:schemeClr val="accent1"/>
                </a:solidFill>
              </a:rPr>
              <a:t>O</a:t>
            </a:r>
            <a:r>
              <a:rPr lang="en-US" b="1" dirty="0"/>
              <a:t>bject </a:t>
            </a:r>
            <a:r>
              <a:rPr lang="en-US" b="1" dirty="0">
                <a:solidFill>
                  <a:schemeClr val="accent1"/>
                </a:solidFill>
              </a:rPr>
              <a:t>N</a:t>
            </a:r>
            <a:r>
              <a:rPr lang="en-US" b="1" dirty="0"/>
              <a:t>otation</a:t>
            </a:r>
            <a:r>
              <a:rPr lang="en-US" dirty="0"/>
              <a:t> </a:t>
            </a:r>
          </a:p>
          <a:p>
            <a:pPr marL="457200" indent="-457200"/>
            <a:r>
              <a:rPr lang="en-US" dirty="0">
                <a:latin typeface="Calibri" charset="0"/>
              </a:rPr>
              <a:t>It’s a "lightweight", readable data interchange format that’s language independent </a:t>
            </a:r>
            <a:endParaRPr lang="en-US" dirty="0"/>
          </a:p>
          <a:p>
            <a:pPr marL="457200" indent="-457200"/>
            <a:r>
              <a:rPr lang="en-US" dirty="0"/>
              <a:t>Most popular data format for new web applications</a:t>
            </a:r>
          </a:p>
          <a:p>
            <a:pPr marL="457200" indent="-457200"/>
            <a:r>
              <a:rPr lang="en-US" dirty="0"/>
              <a:t>Instead of creating an entity relationship model to define all of the data the application needs and then mapping it to a set of relational tables</a:t>
            </a:r>
          </a:p>
          <a:p>
            <a:pPr marL="457200" indent="-457200"/>
            <a:r>
              <a:rPr lang="en-US" dirty="0"/>
              <a:t>Storing JSON documents in the database greatly simplifies application development as the same schema-less data representation can be use in Application and the Database</a:t>
            </a:r>
          </a:p>
          <a:p>
            <a:pPr marL="457200" indent="-457200"/>
            <a:endParaRPr lang="en-US" dirty="0"/>
          </a:p>
          <a:p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77600" y="6556248"/>
            <a:ext cx="381661" cy="18288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51EAA63-D034-42AE-91FA-B13B9518C7BE}" type="slidenum">
              <a:rPr lang="es-ES" smtClean="0">
                <a:solidFill>
                  <a:srgbClr val="5F5F5F"/>
                </a:solidFill>
                <a:latin typeface="Calibri"/>
              </a:rPr>
              <a:pPr/>
              <a:t>22</a:t>
            </a:fld>
            <a:endParaRPr lang="ja-JP" altLang="en-US" dirty="0"/>
          </a:p>
        </p:txBody>
      </p:sp>
      <p:pic>
        <p:nvPicPr>
          <p:cNvPr id="9" name="Picture 2" descr="json.png">
            <a:extLst>
              <a:ext uri="{FF2B5EF4-FFF2-40B4-BE49-F238E27FC236}">
                <a16:creationId xmlns:a16="http://schemas.microsoft.com/office/drawing/2014/main" id="{470B3E63-8AD6-F84D-9935-E81B8360CE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679" y="381228"/>
            <a:ext cx="1600200" cy="1093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3236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77600" y="6556248"/>
            <a:ext cx="381661" cy="18288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51EAA63-D034-42AE-91FA-B13B9518C7BE}" type="slidenum">
              <a:rPr lang="es-ES" smtClean="0">
                <a:solidFill>
                  <a:srgbClr val="5F5F5F"/>
                </a:solidFill>
                <a:latin typeface="Calibri"/>
              </a:rPr>
              <a:pPr/>
              <a:t>23</a:t>
            </a:fld>
            <a:endParaRPr lang="ja-JP" alt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en-US" dirty="0"/>
            </a:br>
            <a:r>
              <a:rPr lang="en-US" dirty="0"/>
              <a:t>What is JSON?</a:t>
            </a:r>
            <a:br>
              <a:rPr lang="en-US" dirty="0"/>
            </a:br>
            <a:endParaRPr kumimoji="1" lang="ja-JP" altLang="en-US" sz="2400" dirty="0">
              <a:solidFill>
                <a:srgbClr val="FF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26720" y="2105727"/>
            <a:ext cx="5503228" cy="3300681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3" tIns="60947" rIns="121893" bIns="60947" anchor="t"/>
          <a:lstStyle/>
          <a:p>
            <a:pPr lvl="0"/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{"id":</a:t>
            </a:r>
            <a:r>
              <a:rPr lang="en-US" sz="2000" b="1" dirty="0">
                <a:solidFill>
                  <a:srgbClr val="FF0000"/>
                </a:solidFill>
                <a:latin typeface="Courier" pitchFamily="2" charset="0"/>
              </a:rPr>
              <a:t>1</a:t>
            </a:r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,</a:t>
            </a:r>
          </a:p>
          <a:p>
            <a:pPr lvl="0"/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 "</a:t>
            </a:r>
            <a:r>
              <a:rPr lang="en-US" sz="2000" b="1" dirty="0" err="1">
                <a:solidFill>
                  <a:srgbClr val="5F5F5F"/>
                </a:solidFill>
                <a:latin typeface="Courier" pitchFamily="2" charset="0"/>
              </a:rPr>
              <a:t>name":</a:t>
            </a:r>
            <a:r>
              <a:rPr lang="en-US" sz="2000" b="1" dirty="0" err="1">
                <a:solidFill>
                  <a:srgbClr val="00B050"/>
                </a:solidFill>
                <a:latin typeface="Courier" pitchFamily="2" charset="0"/>
              </a:rPr>
              <a:t>"Century</a:t>
            </a:r>
            <a:r>
              <a:rPr lang="en-US" sz="2000" b="1" dirty="0">
                <a:solidFill>
                  <a:srgbClr val="00B050"/>
                </a:solidFill>
                <a:latin typeface="Courier" pitchFamily="2" charset="0"/>
              </a:rPr>
              <a:t> 16"</a:t>
            </a:r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,</a:t>
            </a:r>
          </a:p>
          <a:p>
            <a:pPr lvl="0"/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 "location":{"</a:t>
            </a:r>
            <a:r>
              <a:rPr lang="en-US" sz="2000" b="1" dirty="0" err="1">
                <a:solidFill>
                  <a:srgbClr val="5F5F5F"/>
                </a:solidFill>
                <a:latin typeface="Courier" pitchFamily="2" charset="0"/>
              </a:rPr>
              <a:t>street":</a:t>
            </a:r>
            <a:r>
              <a:rPr lang="en-US" sz="2000" b="1" dirty="0" err="1">
                <a:solidFill>
                  <a:srgbClr val="00B050"/>
                </a:solidFill>
                <a:latin typeface="Courier" pitchFamily="2" charset="0"/>
              </a:rPr>
              <a:t>"Main</a:t>
            </a:r>
            <a:r>
              <a:rPr lang="en-US" sz="2000" b="1" dirty="0">
                <a:solidFill>
                  <a:srgbClr val="00B050"/>
                </a:solidFill>
                <a:latin typeface="Courier" pitchFamily="2" charset="0"/>
              </a:rPr>
              <a:t> St"</a:t>
            </a:r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,</a:t>
            </a:r>
          </a:p>
          <a:p>
            <a:pPr lvl="0"/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             "</a:t>
            </a:r>
            <a:r>
              <a:rPr lang="en-US" sz="2000" b="1" dirty="0" err="1">
                <a:solidFill>
                  <a:srgbClr val="5F5F5F"/>
                </a:solidFill>
                <a:latin typeface="Courier" pitchFamily="2" charset="0"/>
              </a:rPr>
              <a:t>city":</a:t>
            </a:r>
            <a:r>
              <a:rPr lang="en-US" sz="2000" b="1" dirty="0" err="1">
                <a:solidFill>
                  <a:srgbClr val="00B050"/>
                </a:solidFill>
                <a:latin typeface="Courier" pitchFamily="2" charset="0"/>
              </a:rPr>
              <a:t>"Redwood</a:t>
            </a:r>
            <a:r>
              <a:rPr lang="en-US" sz="2000" b="1" dirty="0">
                <a:solidFill>
                  <a:srgbClr val="00B050"/>
                </a:solidFill>
                <a:latin typeface="Courier" pitchFamily="2" charset="0"/>
              </a:rPr>
              <a:t>"</a:t>
            </a:r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,</a:t>
            </a:r>
          </a:p>
          <a:p>
            <a:pPr lvl="0"/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             "zipCode":</a:t>
            </a:r>
            <a:r>
              <a:rPr lang="en-US" sz="2000" b="1" dirty="0">
                <a:solidFill>
                  <a:srgbClr val="00B050"/>
                </a:solidFill>
                <a:latin typeface="Courier" pitchFamily="2" charset="0"/>
              </a:rPr>
              <a:t>"94607"</a:t>
            </a:r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,</a:t>
            </a:r>
          </a:p>
          <a:p>
            <a:pPr lvl="0"/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             "</a:t>
            </a:r>
            <a:r>
              <a:rPr lang="en-US" sz="2000" b="1" dirty="0" err="1">
                <a:solidFill>
                  <a:srgbClr val="5F5F5F"/>
                </a:solidFill>
                <a:latin typeface="Courier" pitchFamily="2" charset="0"/>
              </a:rPr>
              <a:t>state":</a:t>
            </a:r>
            <a:r>
              <a:rPr lang="en-US" sz="2000" b="1" dirty="0" err="1">
                <a:solidFill>
                  <a:srgbClr val="00B050"/>
                </a:solidFill>
                <a:latin typeface="Courier" pitchFamily="2" charset="0"/>
              </a:rPr>
              <a:t>"CA</a:t>
            </a:r>
            <a:r>
              <a:rPr lang="en-US" sz="2000" b="1" dirty="0">
                <a:solidFill>
                  <a:srgbClr val="00B050"/>
                </a:solidFill>
                <a:latin typeface="Courier" pitchFamily="2" charset="0"/>
              </a:rPr>
              <a:t>"</a:t>
            </a:r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,</a:t>
            </a:r>
          </a:p>
          <a:p>
            <a:pPr lvl="0"/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            "</a:t>
            </a:r>
            <a:r>
              <a:rPr lang="en-US" sz="2000" b="1" dirty="0" err="1">
                <a:solidFill>
                  <a:srgbClr val="5F5F5F"/>
                </a:solidFill>
                <a:latin typeface="Courier" pitchFamily="2" charset="0"/>
              </a:rPr>
              <a:t>phoneNumber</a:t>
            </a:r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":</a:t>
            </a:r>
            <a:r>
              <a:rPr lang="en-US" sz="2000" b="1" dirty="0">
                <a:solidFill>
                  <a:srgbClr val="00B050"/>
                </a:solidFill>
                <a:latin typeface="Courier" pitchFamily="2" charset="0"/>
              </a:rPr>
              <a:t>null</a:t>
            </a:r>
          </a:p>
          <a:p>
            <a:pPr lvl="0"/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             },</a:t>
            </a:r>
            <a:br>
              <a:rPr lang="en-US" sz="2000" b="1" dirty="0">
                <a:solidFill>
                  <a:srgbClr val="5F5F5F"/>
                </a:solidFill>
                <a:latin typeface="Courier" pitchFamily="2" charset="0"/>
              </a:rPr>
            </a:br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"</a:t>
            </a:r>
            <a:r>
              <a:rPr lang="en-US" sz="2000" b="1" dirty="0" err="1">
                <a:solidFill>
                  <a:srgbClr val="5F5F5F"/>
                </a:solidFill>
                <a:latin typeface="Courier" pitchFamily="2" charset="0"/>
              </a:rPr>
              <a:t>ticketPrice</a:t>
            </a:r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":{"adultPrice":</a:t>
            </a:r>
            <a:r>
              <a:rPr lang="en-US" sz="2000" b="1" dirty="0">
                <a:solidFill>
                  <a:srgbClr val="FF0000"/>
                </a:solidFill>
                <a:latin typeface="Courier" pitchFamily="2" charset="0"/>
              </a:rPr>
              <a:t>14.95</a:t>
            </a:r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,                  </a:t>
            </a:r>
            <a:br>
              <a:rPr lang="en-US" sz="2000" b="1" dirty="0">
                <a:solidFill>
                  <a:srgbClr val="5F5F5F"/>
                </a:solidFill>
                <a:latin typeface="Courier" pitchFamily="2" charset="0"/>
              </a:rPr>
            </a:br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               "childPrice":</a:t>
            </a:r>
            <a:r>
              <a:rPr lang="en-US" sz="2000" b="1" dirty="0">
                <a:solidFill>
                  <a:srgbClr val="FF0000"/>
                </a:solidFill>
                <a:latin typeface="Courier" pitchFamily="2" charset="0"/>
              </a:rPr>
              <a:t>9.95</a:t>
            </a:r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,</a:t>
            </a:r>
            <a:br>
              <a:rPr lang="en-US" sz="2000" b="1" dirty="0">
                <a:solidFill>
                  <a:srgbClr val="5F5F5F"/>
                </a:solidFill>
                <a:latin typeface="Courier" pitchFamily="2" charset="0"/>
              </a:rPr>
            </a:br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               "seniorPrice":</a:t>
            </a:r>
            <a:r>
              <a:rPr lang="en-US" sz="2000" b="1" dirty="0">
                <a:solidFill>
                  <a:srgbClr val="FF0000"/>
                </a:solidFill>
                <a:latin typeface="Courier" pitchFamily="2" charset="0"/>
              </a:rPr>
              <a:t>9.95</a:t>
            </a:r>
          </a:p>
          <a:p>
            <a:pPr lvl="0"/>
            <a:r>
              <a:rPr lang="en-US" sz="2000" b="1" dirty="0">
                <a:solidFill>
                  <a:srgbClr val="5F5F5F"/>
                </a:solidFill>
                <a:latin typeface="Courier" pitchFamily="2" charset="0"/>
                <a:cs typeface="Courier New" panose="02070309020205020404" pitchFamily="49" charset="0"/>
              </a:rPr>
              <a:t>              }</a:t>
            </a:r>
          </a:p>
          <a:p>
            <a:pPr lvl="0"/>
            <a:r>
              <a:rPr lang="en-US" sz="2000" b="1" dirty="0">
                <a:solidFill>
                  <a:srgbClr val="5F5F5F"/>
                </a:solidFill>
                <a:latin typeface="Courier" pitchFamily="2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890329" y="1973204"/>
            <a:ext cx="5977519" cy="41557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A data format that consists of one or more </a:t>
            </a:r>
            <a:r>
              <a:rPr lang="en-US" sz="2000" b="1" dirty="0"/>
              <a:t>name value pairs </a:t>
            </a:r>
            <a:r>
              <a:rPr lang="en-US" sz="2000" dirty="0"/>
              <a:t>enclosed in curly brackets </a:t>
            </a:r>
          </a:p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The </a:t>
            </a:r>
            <a:r>
              <a:rPr lang="en-US" sz="2000" b="1" dirty="0"/>
              <a:t>name</a:t>
            </a:r>
            <a:r>
              <a:rPr lang="en-US" sz="2000" dirty="0"/>
              <a:t> is always a string and is separated from the value by a colon</a:t>
            </a:r>
          </a:p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A </a:t>
            </a:r>
            <a:r>
              <a:rPr lang="en-US" sz="2000" b="1" dirty="0"/>
              <a:t>value</a:t>
            </a:r>
            <a:r>
              <a:rPr lang="en-US" sz="2000" dirty="0"/>
              <a:t> can be a number, string, true, false null, an object or array</a:t>
            </a: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E.g. location is an </a:t>
            </a:r>
            <a:r>
              <a:rPr lang="en-US" b="1" dirty="0"/>
              <a:t>object</a:t>
            </a:r>
            <a:r>
              <a:rPr lang="en-US" dirty="0"/>
              <a:t> as it has random set of name value pairs nested inside , enclosed in { }</a:t>
            </a: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An </a:t>
            </a:r>
            <a:r>
              <a:rPr lang="en-US" b="1" dirty="0"/>
              <a:t>array</a:t>
            </a:r>
            <a:r>
              <a:rPr lang="en-US" dirty="0"/>
              <a:t> is an ordered list of related items which could be JSON objects and is enclosed in [ ]</a:t>
            </a:r>
          </a:p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Each pair is separated by a comma</a:t>
            </a:r>
          </a:p>
        </p:txBody>
      </p:sp>
      <p:pic>
        <p:nvPicPr>
          <p:cNvPr id="7" name="Picture 2" descr="json.png">
            <a:extLst>
              <a:ext uri="{FF2B5EF4-FFF2-40B4-BE49-F238E27FC236}">
                <a16:creationId xmlns:a16="http://schemas.microsoft.com/office/drawing/2014/main" id="{5C66389F-183C-FD4C-B910-A5EDE4B2D8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679" y="381228"/>
            <a:ext cx="1600200" cy="1093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052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77600" y="6556248"/>
            <a:ext cx="381661" cy="18288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51EAA63-D034-42AE-91FA-B13B9518C7BE}" type="slidenum">
              <a:rPr lang="es-ES" smtClean="0">
                <a:solidFill>
                  <a:srgbClr val="5F5F5F"/>
                </a:solidFill>
                <a:latin typeface="Calibri"/>
              </a:rPr>
              <a:pPr/>
              <a:t>24</a:t>
            </a:fld>
            <a:endParaRPr lang="ja-JP" alt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en-US" dirty="0"/>
            </a:br>
            <a:r>
              <a:rPr lang="en-US" dirty="0"/>
              <a:t>Storing JSON in the Oracle Database</a:t>
            </a:r>
            <a:br>
              <a:rPr lang="en-US" dirty="0"/>
            </a:br>
            <a:endParaRPr kumimoji="1" lang="ja-JP" altLang="en-US" sz="2400" dirty="0">
              <a:solidFill>
                <a:srgbClr val="FF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21183" y="1436751"/>
            <a:ext cx="7164720" cy="5528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kumimoji="1" lang="en-US" altLang="ja-JP" sz="2800" dirty="0"/>
              <a:t>Table containing JSON documents</a:t>
            </a:r>
            <a:endParaRPr kumimoji="1" lang="ja-JP" altLang="en-US" sz="2800" dirty="0"/>
          </a:p>
        </p:txBody>
      </p:sp>
      <p:sp>
        <p:nvSpPr>
          <p:cNvPr id="5" name="TextBox 4"/>
          <p:cNvSpPr txBox="1"/>
          <p:nvPr/>
        </p:nvSpPr>
        <p:spPr>
          <a:xfrm>
            <a:off x="5890329" y="2397210"/>
            <a:ext cx="6051469" cy="39903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2800" dirty="0"/>
              <a:t>Oracle stores JSON in table columns</a:t>
            </a:r>
          </a:p>
          <a:p>
            <a:pPr marL="800100" lvl="1" indent="-342900">
              <a:buFont typeface="Arial"/>
              <a:buChar char="•"/>
            </a:pPr>
            <a:r>
              <a:rPr lang="en-US" sz="2400" dirty="0"/>
              <a:t>No special data type</a:t>
            </a:r>
          </a:p>
          <a:p>
            <a:pPr marL="800100" lvl="1" indent="-342900">
              <a:buFont typeface="Arial"/>
              <a:buChar char="•"/>
            </a:pPr>
            <a:r>
              <a:rPr lang="en-US" sz="2400" dirty="0"/>
              <a:t>Can be VARCHAR2, BLOB or CLOB</a:t>
            </a:r>
          </a:p>
          <a:p>
            <a:pPr marL="342900" indent="-342900">
              <a:spcBef>
                <a:spcPts val="1800"/>
              </a:spcBef>
              <a:buFont typeface="Arial"/>
              <a:buChar char="•"/>
            </a:pPr>
            <a:r>
              <a:rPr lang="en-US" sz="2800" dirty="0"/>
              <a:t>JSON supported by all Oracle features</a:t>
            </a:r>
          </a:p>
          <a:p>
            <a:pPr marL="800100" lvl="1" indent="-342900">
              <a:buClr>
                <a:schemeClr val="tx1"/>
              </a:buClr>
              <a:buFont typeface="Arial"/>
              <a:buChar char="•"/>
            </a:pPr>
            <a:r>
              <a:rPr lang="en-US" sz="2400" dirty="0">
                <a:solidFill>
                  <a:srgbClr val="5F5F5F"/>
                </a:solidFill>
              </a:rPr>
              <a:t>Analytics, Encryption, In-Memory, RAC, Replication, Parallel SQL, </a:t>
            </a:r>
            <a:r>
              <a:rPr lang="is-IS" sz="2400" dirty="0">
                <a:solidFill>
                  <a:srgbClr val="5F5F5F"/>
                </a:solidFill>
              </a:rPr>
              <a:t>…</a:t>
            </a:r>
            <a:r>
              <a:rPr lang="en-US" sz="2400" dirty="0">
                <a:solidFill>
                  <a:srgbClr val="5F5F5F"/>
                </a:solidFill>
              </a:rPr>
              <a:t> </a:t>
            </a:r>
          </a:p>
          <a:p>
            <a:pPr marL="800100" lvl="1" indent="-342900">
              <a:buClr>
                <a:schemeClr val="tx1"/>
              </a:buClr>
              <a:buFont typeface="Arial"/>
              <a:buChar char="•"/>
            </a:pPr>
            <a:r>
              <a:rPr lang="en-US" sz="2400" dirty="0"/>
              <a:t>Plus can index any JSON el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92A297-DDC8-F44B-8989-368FA9E5225D}"/>
              </a:ext>
            </a:extLst>
          </p:cNvPr>
          <p:cNvSpPr txBox="1"/>
          <p:nvPr/>
        </p:nvSpPr>
        <p:spPr>
          <a:xfrm>
            <a:off x="483972" y="2509958"/>
            <a:ext cx="5076508" cy="346785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3" tIns="60947" rIns="121893" bIns="60947" anchor="t"/>
          <a:lstStyle/>
          <a:p>
            <a:r>
              <a:rPr lang="en-US" sz="2000" b="1" dirty="0">
                <a:solidFill>
                  <a:srgbClr val="0000FF"/>
                </a:solidFill>
                <a:latin typeface="Courier"/>
                <a:cs typeface="Courier"/>
              </a:rPr>
              <a:t>CREATE TABLE </a:t>
            </a:r>
            <a: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  <a:t>theater </a:t>
            </a:r>
          </a:p>
          <a:p>
            <a: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  <a:t> ( </a:t>
            </a:r>
          </a:p>
          <a:p>
            <a: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  <a:t>   </a:t>
            </a:r>
            <a:r>
              <a:rPr lang="en-US" sz="2000" b="1" dirty="0" err="1">
                <a:solidFill>
                  <a:schemeClr val="tx1"/>
                </a:solidFill>
                <a:latin typeface="Courier"/>
                <a:cs typeface="Courier"/>
              </a:rPr>
              <a:t>theater_id</a:t>
            </a:r>
            <a: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  <a:t>    VARCHAR2(255), </a:t>
            </a:r>
          </a:p>
          <a:p>
            <a: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  <a:t>   </a:t>
            </a:r>
            <a:r>
              <a:rPr lang="en-US" sz="2000" b="1" dirty="0" err="1">
                <a:solidFill>
                  <a:schemeClr val="tx1"/>
                </a:solidFill>
                <a:latin typeface="Courier"/>
                <a:cs typeface="Courier"/>
              </a:rPr>
              <a:t>json_document</a:t>
            </a:r>
            <a: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  <a:t> BLOB </a:t>
            </a:r>
          </a:p>
          <a:p>
            <a: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  <a:t>   </a:t>
            </a:r>
          </a:p>
          <a:p>
            <a:endParaRPr lang="en-US" sz="2000" b="1" dirty="0">
              <a:solidFill>
                <a:schemeClr val="tx1"/>
              </a:solidFill>
              <a:latin typeface="Courier"/>
              <a:cs typeface="Courier"/>
            </a:endParaRPr>
          </a:p>
          <a:p>
            <a: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  <a:t> );</a:t>
            </a:r>
            <a:endParaRPr lang="is-IS" sz="2000" b="1" dirty="0"/>
          </a:p>
        </p:txBody>
      </p:sp>
      <p:pic>
        <p:nvPicPr>
          <p:cNvPr id="8" name="Picture 2" descr="json.png">
            <a:extLst>
              <a:ext uri="{FF2B5EF4-FFF2-40B4-BE49-F238E27FC236}">
                <a16:creationId xmlns:a16="http://schemas.microsoft.com/office/drawing/2014/main" id="{279C62B3-17A5-E540-9FC1-DE895DFEF5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679" y="381228"/>
            <a:ext cx="1600200" cy="1093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665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77600" y="6556248"/>
            <a:ext cx="381661" cy="18288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51EAA63-D034-42AE-91FA-B13B9518C7BE}" type="slidenum">
              <a:rPr lang="es-ES" smtClean="0">
                <a:solidFill>
                  <a:srgbClr val="5F5F5F"/>
                </a:solidFill>
                <a:latin typeface="Calibri"/>
              </a:rPr>
              <a:pPr/>
              <a:t>25</a:t>
            </a:fld>
            <a:endParaRPr lang="ja-JP" alt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en-US" dirty="0"/>
            </a:br>
            <a:r>
              <a:rPr lang="en-US" dirty="0"/>
              <a:t>Storing JSON in the Oracle Database</a:t>
            </a:r>
            <a:br>
              <a:rPr lang="en-US" dirty="0"/>
            </a:br>
            <a:endParaRPr kumimoji="1" lang="ja-JP" altLang="en-US" sz="2400" dirty="0">
              <a:solidFill>
                <a:srgbClr val="FF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21182" y="1436751"/>
            <a:ext cx="6275033" cy="5528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kumimoji="1" lang="en-US" altLang="ja-JP" sz="2800" dirty="0"/>
              <a:t>Table containing JSON documents</a:t>
            </a:r>
            <a:endParaRPr kumimoji="1" lang="ja-JP" altLang="en-US" sz="2800" dirty="0"/>
          </a:p>
        </p:txBody>
      </p:sp>
      <p:sp>
        <p:nvSpPr>
          <p:cNvPr id="5" name="TextBox 4"/>
          <p:cNvSpPr txBox="1"/>
          <p:nvPr/>
        </p:nvSpPr>
        <p:spPr>
          <a:xfrm>
            <a:off x="5890329" y="2214148"/>
            <a:ext cx="6051469" cy="41733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Clr>
                <a:schemeClr val="tx1">
                  <a:lumMod val="50000"/>
                </a:schemeClr>
              </a:buClr>
              <a:buFont typeface="Arial"/>
              <a:buChar char="•"/>
            </a:pPr>
            <a:r>
              <a:rPr lang="en-US" sz="2400" dirty="0"/>
              <a:t>Oracle stores JSON in table columns</a:t>
            </a:r>
          </a:p>
          <a:p>
            <a:pPr marL="800100" lvl="1" indent="-342900">
              <a:buClr>
                <a:schemeClr val="tx1">
                  <a:lumMod val="50000"/>
                </a:schemeClr>
              </a:buClr>
              <a:buFont typeface="Arial"/>
              <a:buChar char="•"/>
            </a:pPr>
            <a:r>
              <a:rPr lang="en-US" sz="2000" dirty="0"/>
              <a:t>No special data type</a:t>
            </a:r>
          </a:p>
          <a:p>
            <a:pPr marL="800100" lvl="1" indent="-342900">
              <a:buClr>
                <a:schemeClr val="tx1">
                  <a:lumMod val="50000"/>
                </a:schemeClr>
              </a:buClr>
              <a:buFont typeface="Arial"/>
              <a:buChar char="•"/>
            </a:pPr>
            <a:r>
              <a:rPr lang="en-US" sz="2000" dirty="0"/>
              <a:t>Can be VARCHAR2, BLOB or CLOB</a:t>
            </a:r>
          </a:p>
          <a:p>
            <a:pPr marL="342900" indent="-342900">
              <a:spcBef>
                <a:spcPts val="1800"/>
              </a:spcBef>
              <a:buClr>
                <a:schemeClr val="tx1">
                  <a:lumMod val="50000"/>
                </a:schemeClr>
              </a:buClr>
              <a:buFont typeface="Arial"/>
              <a:buChar char="•"/>
            </a:pPr>
            <a:r>
              <a:rPr lang="en-US" sz="2400" dirty="0"/>
              <a:t>JSON supported by all Oracle features</a:t>
            </a:r>
          </a:p>
          <a:p>
            <a:pPr marL="800100" lvl="1" indent="-342900">
              <a:buClr>
                <a:schemeClr val="tx1">
                  <a:lumMod val="50000"/>
                </a:schemeClr>
              </a:buClr>
              <a:buFont typeface="Arial"/>
              <a:buChar char="•"/>
            </a:pPr>
            <a:r>
              <a:rPr lang="en-US" sz="2000" dirty="0">
                <a:solidFill>
                  <a:srgbClr val="5F5F5F"/>
                </a:solidFill>
              </a:rPr>
              <a:t>Analytics, Encryption, In-Memory, RAC, Replication, Parallel SQL, </a:t>
            </a:r>
            <a:r>
              <a:rPr lang="is-IS" sz="2000" dirty="0">
                <a:solidFill>
                  <a:srgbClr val="5F5F5F"/>
                </a:solidFill>
              </a:rPr>
              <a:t>…</a:t>
            </a:r>
            <a:r>
              <a:rPr lang="en-US" sz="2000" dirty="0">
                <a:solidFill>
                  <a:srgbClr val="5F5F5F"/>
                </a:solidFill>
              </a:rPr>
              <a:t> </a:t>
            </a:r>
          </a:p>
          <a:p>
            <a:pPr marL="800100" lvl="1" indent="-342900">
              <a:buClr>
                <a:schemeClr val="tx1">
                  <a:lumMod val="50000"/>
                </a:schemeClr>
              </a:buClr>
              <a:buFont typeface="Arial"/>
              <a:buChar char="•"/>
            </a:pPr>
            <a:r>
              <a:rPr lang="en-US" sz="2000" dirty="0"/>
              <a:t>Plus can index any JSON element</a:t>
            </a:r>
          </a:p>
          <a:p>
            <a:pPr marL="342900" indent="-342900">
              <a:spcBef>
                <a:spcPts val="1200"/>
              </a:spcBef>
              <a:buClr>
                <a:schemeClr val="tx1">
                  <a:lumMod val="50000"/>
                </a:schemeClr>
              </a:buClr>
              <a:buFont typeface="Arial"/>
              <a:buChar char="•"/>
            </a:pPr>
            <a:r>
              <a:rPr lang="en-US" sz="2400" b="1" dirty="0">
                <a:solidFill>
                  <a:srgbClr val="0000FF"/>
                </a:solidFill>
                <a:latin typeface="Courier New" charset="0"/>
                <a:ea typeface="Courier New" charset="0"/>
                <a:cs typeface="Courier New" charset="0"/>
              </a:rPr>
              <a:t>IS JSON </a:t>
            </a:r>
            <a:r>
              <a:rPr lang="en-US" sz="2400" dirty="0"/>
              <a:t> check constraint enforces lax JSON syntax by default </a:t>
            </a:r>
          </a:p>
          <a:p>
            <a:pPr marL="800100" lvl="1" indent="-342900">
              <a:spcBef>
                <a:spcPts val="1200"/>
              </a:spcBef>
              <a:buClr>
                <a:schemeClr val="tx1">
                  <a:lumMod val="50000"/>
                </a:schemeClr>
              </a:buClr>
              <a:buFont typeface="Arial"/>
              <a:buChar char="•"/>
            </a:pPr>
            <a:r>
              <a:rPr lang="en-US" sz="2400" dirty="0"/>
              <a:t>Does not require NAME attributes to be in double quot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92A297-DDC8-F44B-8989-368FA9E5225D}"/>
              </a:ext>
            </a:extLst>
          </p:cNvPr>
          <p:cNvSpPr txBox="1"/>
          <p:nvPr/>
        </p:nvSpPr>
        <p:spPr>
          <a:xfrm>
            <a:off x="533401" y="2214149"/>
            <a:ext cx="5183729" cy="3046964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3" tIns="60947" rIns="121893" bIns="60947" anchor="t"/>
          <a:lstStyle/>
          <a:p>
            <a:r>
              <a:rPr lang="en-US" sz="2000" b="1" dirty="0">
                <a:solidFill>
                  <a:srgbClr val="0000FF"/>
                </a:solidFill>
                <a:latin typeface="Courier"/>
                <a:cs typeface="Courier"/>
              </a:rPr>
              <a:t>CREATE TABLE </a:t>
            </a:r>
            <a: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  <a:t>theater </a:t>
            </a:r>
          </a:p>
          <a:p>
            <a: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  <a:t> ( </a:t>
            </a:r>
          </a:p>
          <a:p>
            <a: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  <a:t>   </a:t>
            </a:r>
            <a:r>
              <a:rPr lang="en-US" sz="2000" b="1" dirty="0" err="1">
                <a:solidFill>
                  <a:schemeClr val="tx1"/>
                </a:solidFill>
                <a:latin typeface="Courier"/>
                <a:cs typeface="Courier"/>
              </a:rPr>
              <a:t>theater_id</a:t>
            </a:r>
            <a: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  <a:t>    VARCHAR2(255), </a:t>
            </a:r>
          </a:p>
          <a:p>
            <a: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  <a:t>   </a:t>
            </a:r>
            <a:r>
              <a:rPr lang="en-US" sz="2000" b="1" dirty="0" err="1">
                <a:solidFill>
                  <a:schemeClr val="tx1"/>
                </a:solidFill>
                <a:latin typeface="Courier"/>
                <a:cs typeface="Courier"/>
              </a:rPr>
              <a:t>json_document</a:t>
            </a:r>
            <a: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  <a:t> BLOB </a:t>
            </a:r>
          </a:p>
          <a:p>
            <a: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  <a:t>   </a:t>
            </a:r>
            <a:r>
              <a:rPr lang="en-US" sz="2000" b="1" dirty="0">
                <a:solidFill>
                  <a:srgbClr val="0000FF"/>
                </a:solidFill>
                <a:latin typeface="Courier"/>
                <a:cs typeface="Courier"/>
              </a:rPr>
              <a:t>CONSTRAINT</a:t>
            </a:r>
            <a: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ourier"/>
                <a:cs typeface="Courier"/>
              </a:rPr>
              <a:t>is_json</a:t>
            </a:r>
            <a: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  <a:t> </a:t>
            </a:r>
            <a:r>
              <a:rPr lang="en-US" sz="2000" b="1" dirty="0">
                <a:solidFill>
                  <a:srgbClr val="0000FF"/>
                </a:solidFill>
                <a:latin typeface="Courier"/>
                <a:cs typeface="Courier"/>
              </a:rPr>
              <a:t>CHECK</a:t>
            </a:r>
            <a: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  <a:t>    </a:t>
            </a:r>
            <a:b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</a:br>
            <a: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  <a:t>    (</a:t>
            </a:r>
            <a:r>
              <a:rPr lang="en-US" sz="2000" b="1" dirty="0" err="1">
                <a:solidFill>
                  <a:schemeClr val="tx1"/>
                </a:solidFill>
                <a:latin typeface="Courier"/>
                <a:cs typeface="Courier"/>
              </a:rPr>
              <a:t>json_document</a:t>
            </a:r>
            <a: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  <a:t> </a:t>
            </a:r>
            <a:r>
              <a:rPr lang="en-US" sz="2000" b="1" dirty="0">
                <a:solidFill>
                  <a:srgbClr val="0000FF"/>
                </a:solidFill>
                <a:latin typeface="Courier"/>
                <a:cs typeface="Courier"/>
              </a:rPr>
              <a:t>IS JSON</a:t>
            </a:r>
            <a: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  <a:t>) </a:t>
            </a:r>
          </a:p>
          <a:p>
            <a:r>
              <a:rPr lang="en-US" sz="2000" b="1" dirty="0">
                <a:solidFill>
                  <a:schemeClr val="tx1"/>
                </a:solidFill>
                <a:latin typeface="Courier"/>
                <a:cs typeface="Courier"/>
              </a:rPr>
              <a:t> );</a:t>
            </a:r>
            <a:endParaRPr lang="is-IS" sz="2000" b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B1D5EEA-97D1-4546-9735-ABA7FF778715}"/>
              </a:ext>
            </a:extLst>
          </p:cNvPr>
          <p:cNvSpPr txBox="1"/>
          <p:nvPr/>
        </p:nvSpPr>
        <p:spPr>
          <a:xfrm>
            <a:off x="502920" y="5342462"/>
            <a:ext cx="4956176" cy="191376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3" tIns="60947" rIns="121893" bIns="60947" anchor="t"/>
          <a:lstStyle/>
          <a:p>
            <a:pPr lvl="0"/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{</a:t>
            </a:r>
            <a:r>
              <a:rPr lang="en-US" sz="2000" b="1" dirty="0">
                <a:solidFill>
                  <a:schemeClr val="tx1">
                    <a:lumMod val="50000"/>
                  </a:schemeClr>
                </a:solidFill>
                <a:latin typeface="Courier" pitchFamily="2" charset="0"/>
              </a:rPr>
              <a:t>"</a:t>
            </a:r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id</a:t>
            </a:r>
            <a:r>
              <a:rPr lang="en-US" sz="2000" b="1" dirty="0">
                <a:solidFill>
                  <a:schemeClr val="tx1">
                    <a:lumMod val="50000"/>
                  </a:schemeClr>
                </a:solidFill>
                <a:latin typeface="Courier" pitchFamily="2" charset="0"/>
              </a:rPr>
              <a:t>"</a:t>
            </a:r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:</a:t>
            </a:r>
            <a:r>
              <a:rPr lang="en-US" sz="2000" b="1" dirty="0">
                <a:solidFill>
                  <a:srgbClr val="FF0000"/>
                </a:solidFill>
                <a:latin typeface="Courier" pitchFamily="2" charset="0"/>
              </a:rPr>
              <a:t>1</a:t>
            </a:r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,</a:t>
            </a:r>
          </a:p>
          <a:p>
            <a:pPr lvl="0"/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 </a:t>
            </a:r>
            <a:r>
              <a:rPr lang="en-US" sz="2000" b="1" dirty="0">
                <a:solidFill>
                  <a:schemeClr val="tx1">
                    <a:lumMod val="50000"/>
                  </a:schemeClr>
                </a:solidFill>
                <a:latin typeface="Courier" pitchFamily="2" charset="0"/>
              </a:rPr>
              <a:t>"</a:t>
            </a:r>
            <a:r>
              <a:rPr lang="en-US" sz="2000" b="1" dirty="0" err="1">
                <a:solidFill>
                  <a:srgbClr val="5F5F5F"/>
                </a:solidFill>
                <a:latin typeface="Courier" pitchFamily="2" charset="0"/>
              </a:rPr>
              <a:t>name</a:t>
            </a:r>
            <a:r>
              <a:rPr lang="en-US" sz="2000" b="1" dirty="0" err="1">
                <a:solidFill>
                  <a:schemeClr val="tx1">
                    <a:lumMod val="50000"/>
                  </a:schemeClr>
                </a:solidFill>
                <a:latin typeface="Courier" pitchFamily="2" charset="0"/>
              </a:rPr>
              <a:t>"</a:t>
            </a:r>
            <a:r>
              <a:rPr lang="en-US" sz="2000" b="1" dirty="0" err="1">
                <a:solidFill>
                  <a:srgbClr val="5F5F5F"/>
                </a:solidFill>
                <a:latin typeface="Courier" pitchFamily="2" charset="0"/>
              </a:rPr>
              <a:t>:</a:t>
            </a:r>
            <a:r>
              <a:rPr lang="en-US" sz="2000" b="1" dirty="0" err="1">
                <a:solidFill>
                  <a:srgbClr val="00B050"/>
                </a:solidFill>
                <a:latin typeface="Courier" pitchFamily="2" charset="0"/>
              </a:rPr>
              <a:t>"Century</a:t>
            </a:r>
            <a:r>
              <a:rPr lang="en-US" sz="2000" b="1" dirty="0">
                <a:solidFill>
                  <a:srgbClr val="00B050"/>
                </a:solidFill>
                <a:latin typeface="Courier" pitchFamily="2" charset="0"/>
              </a:rPr>
              <a:t> 16"</a:t>
            </a:r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,</a:t>
            </a:r>
            <a:endParaRPr lang="en-US" sz="2000" b="1" dirty="0">
              <a:solidFill>
                <a:srgbClr val="5F5F5F"/>
              </a:solidFill>
              <a:latin typeface="Courier" pitchFamily="2" charset="0"/>
              <a:cs typeface="Courier New" panose="02070309020205020404" pitchFamily="49" charset="0"/>
            </a:endParaRPr>
          </a:p>
          <a:p>
            <a:pPr lvl="0"/>
            <a:r>
              <a:rPr lang="en-US" sz="2000" b="1" dirty="0">
                <a:solidFill>
                  <a:srgbClr val="5F5F5F"/>
                </a:solidFill>
                <a:latin typeface="Courier" pitchFamily="2" charset="0"/>
                <a:cs typeface="Courier New" panose="02070309020205020404" pitchFamily="49" charset="0"/>
              </a:rPr>
              <a:t>}</a:t>
            </a:r>
          </a:p>
          <a:p>
            <a:pPr lvl="0"/>
            <a:endParaRPr lang="en-US" sz="2000" b="1" dirty="0">
              <a:solidFill>
                <a:srgbClr val="5F5F5F"/>
              </a:solidFill>
              <a:latin typeface="Courier" pitchFamily="2" charset="0"/>
              <a:cs typeface="Courier New" panose="02070309020205020404" pitchFamily="49" charset="0"/>
            </a:endParaRPr>
          </a:p>
          <a:p>
            <a:pPr lvl="0"/>
            <a:endParaRPr lang="en-US" sz="2000" b="1" dirty="0">
              <a:solidFill>
                <a:srgbClr val="5F5F5F"/>
              </a:solidFill>
              <a:latin typeface="Courier" pitchFamily="2" charset="0"/>
              <a:cs typeface="Courier New" panose="02070309020205020404" pitchFamily="49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91B2F6B-C5B7-C54A-A6C6-8CBCC114B36B}"/>
              </a:ext>
            </a:extLst>
          </p:cNvPr>
          <p:cNvSpPr txBox="1"/>
          <p:nvPr/>
        </p:nvSpPr>
        <p:spPr>
          <a:xfrm>
            <a:off x="521183" y="4454675"/>
            <a:ext cx="4956176" cy="2077955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3" tIns="60947" rIns="121893" bIns="60947" anchor="t"/>
          <a:lstStyle/>
          <a:p>
            <a:pPr lvl="0"/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{id:</a:t>
            </a:r>
            <a:r>
              <a:rPr lang="en-US" sz="2000" b="1" dirty="0">
                <a:solidFill>
                  <a:srgbClr val="FF0000"/>
                </a:solidFill>
                <a:latin typeface="Courier" pitchFamily="2" charset="0"/>
              </a:rPr>
              <a:t>1</a:t>
            </a:r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,</a:t>
            </a:r>
          </a:p>
          <a:p>
            <a:pPr lvl="0"/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 </a:t>
            </a:r>
            <a:r>
              <a:rPr lang="en-US" sz="2000" b="1" dirty="0" err="1">
                <a:solidFill>
                  <a:srgbClr val="5F5F5F"/>
                </a:solidFill>
                <a:latin typeface="Courier" pitchFamily="2" charset="0"/>
              </a:rPr>
              <a:t>name:</a:t>
            </a:r>
            <a:r>
              <a:rPr lang="en-US" sz="2000" b="1" dirty="0" err="1">
                <a:solidFill>
                  <a:srgbClr val="00B050"/>
                </a:solidFill>
                <a:latin typeface="Courier" pitchFamily="2" charset="0"/>
              </a:rPr>
              <a:t>"Century</a:t>
            </a:r>
            <a:r>
              <a:rPr lang="en-US" sz="2000" b="1" dirty="0">
                <a:solidFill>
                  <a:srgbClr val="00B050"/>
                </a:solidFill>
                <a:latin typeface="Courier" pitchFamily="2" charset="0"/>
              </a:rPr>
              <a:t> 16"</a:t>
            </a:r>
            <a:r>
              <a:rPr lang="en-US" sz="2000" b="1" dirty="0">
                <a:solidFill>
                  <a:srgbClr val="5F5F5F"/>
                </a:solidFill>
                <a:latin typeface="Courier" pitchFamily="2" charset="0"/>
              </a:rPr>
              <a:t>,</a:t>
            </a:r>
            <a:endParaRPr lang="en-US" sz="2000" b="1" dirty="0">
              <a:solidFill>
                <a:srgbClr val="5F5F5F"/>
              </a:solidFill>
              <a:latin typeface="Courier" pitchFamily="2" charset="0"/>
              <a:cs typeface="Courier New" panose="02070309020205020404" pitchFamily="49" charset="0"/>
            </a:endParaRPr>
          </a:p>
          <a:p>
            <a:pPr lvl="0"/>
            <a:r>
              <a:rPr lang="en-US" sz="2000" b="1" dirty="0">
                <a:solidFill>
                  <a:srgbClr val="5F5F5F"/>
                </a:solidFill>
                <a:latin typeface="Courier" pitchFamily="2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F71B39-B6CF-B743-B7E8-E2F8275C341B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229209" y="5641275"/>
            <a:ext cx="455959" cy="41286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0DD56F6-1AF9-4743-A85A-42C9434C8C1E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229208" y="4700017"/>
            <a:ext cx="455959" cy="412863"/>
          </a:xfrm>
          <a:prstGeom prst="rect">
            <a:avLst/>
          </a:prstGeom>
        </p:spPr>
      </p:pic>
      <p:pic>
        <p:nvPicPr>
          <p:cNvPr id="16" name="Picture 2" descr="json.png">
            <a:extLst>
              <a:ext uri="{FF2B5EF4-FFF2-40B4-BE49-F238E27FC236}">
                <a16:creationId xmlns:a16="http://schemas.microsoft.com/office/drawing/2014/main" id="{EBFC657C-389F-E14A-BEFA-CD96A62A07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679" y="381228"/>
            <a:ext cx="1600200" cy="1093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429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33400" y="193846"/>
            <a:ext cx="11125200" cy="889000"/>
          </a:xfrm>
        </p:spPr>
        <p:txBody>
          <a:bodyPr/>
          <a:lstStyle/>
          <a:p>
            <a:br>
              <a:rPr lang="en-US" dirty="0"/>
            </a:br>
            <a:r>
              <a:rPr lang="en-US" dirty="0"/>
              <a:t>Storing JSON in the Oracle Database</a:t>
            </a:r>
            <a:br>
              <a:rPr lang="en-US" dirty="0"/>
            </a:br>
            <a:endParaRPr kumimoji="1" lang="ja-JP" altLang="en-US" sz="2400" dirty="0">
              <a:solidFill>
                <a:srgbClr val="FF0000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532739" y="1833244"/>
            <a:ext cx="11126522" cy="3826152"/>
          </a:xfrm>
        </p:spPr>
        <p:txBody>
          <a:bodyPr/>
          <a:lstStyle/>
          <a:p>
            <a:r>
              <a:rPr lang="en-US" sz="2400" b="1" dirty="0"/>
              <a:t>VARCHAR2</a:t>
            </a:r>
          </a:p>
          <a:p>
            <a:pPr lvl="1"/>
            <a:r>
              <a:rPr lang="en-US" sz="2000" dirty="0"/>
              <a:t>Best performance, easy to retrieve via SELECT</a:t>
            </a:r>
          </a:p>
          <a:p>
            <a:pPr lvl="1"/>
            <a:r>
              <a:rPr lang="en-US" sz="2000" dirty="0"/>
              <a:t>Limited max size of 32k only (with MAX_STRING_SIZE=EXTENDED)</a:t>
            </a:r>
          </a:p>
          <a:p>
            <a:r>
              <a:rPr lang="en-US" sz="2400" b="1" dirty="0"/>
              <a:t>BLOB</a:t>
            </a:r>
          </a:p>
          <a:p>
            <a:pPr lvl="1"/>
            <a:r>
              <a:rPr lang="en-US" sz="2000" dirty="0"/>
              <a:t>Best LOB performance but not as fast as VARCHAR2</a:t>
            </a:r>
          </a:p>
          <a:p>
            <a:pPr lvl="1"/>
            <a:r>
              <a:rPr lang="en-US" sz="2000" dirty="0"/>
              <a:t>Unlimited size, not as easy to retrieve via SELECT</a:t>
            </a:r>
          </a:p>
          <a:p>
            <a:pPr lvl="1"/>
            <a:r>
              <a:rPr lang="en-US" sz="2000" dirty="0"/>
              <a:t>No potential </a:t>
            </a:r>
            <a:r>
              <a:rPr lang="en-US" sz="2000" dirty="0" err="1"/>
              <a:t>characterset</a:t>
            </a:r>
            <a:r>
              <a:rPr lang="en-US" sz="2000" dirty="0"/>
              <a:t> conversion</a:t>
            </a:r>
          </a:p>
          <a:p>
            <a:r>
              <a:rPr lang="en-US" sz="2400" b="1" dirty="0"/>
              <a:t>CLOB</a:t>
            </a:r>
          </a:p>
          <a:p>
            <a:pPr lvl="1"/>
            <a:r>
              <a:rPr lang="en-US" sz="2000" dirty="0"/>
              <a:t>Unlimited size, easy to retrieve via SELECT</a:t>
            </a:r>
          </a:p>
          <a:p>
            <a:pPr lvl="1"/>
            <a:r>
              <a:rPr lang="en-US" sz="2000" dirty="0"/>
              <a:t>Potential </a:t>
            </a:r>
            <a:r>
              <a:rPr lang="en-US" sz="2000" dirty="0" err="1"/>
              <a:t>characterset</a:t>
            </a:r>
            <a:r>
              <a:rPr lang="en-US" sz="2000" dirty="0"/>
              <a:t> conversion (from 1 byte UTF-8 to 2 byte USC-2, double space)</a:t>
            </a:r>
          </a:p>
          <a:p>
            <a:pPr lvl="1"/>
            <a:r>
              <a:rPr lang="en-US" sz="2000" dirty="0"/>
              <a:t>Potential bigger size on disk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77600" y="6556248"/>
            <a:ext cx="381661" cy="18288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51EAA63-D034-42AE-91FA-B13B9518C7BE}" type="slidenum">
              <a:rPr lang="es-ES" smtClean="0">
                <a:solidFill>
                  <a:srgbClr val="5F5F5F"/>
                </a:solidFill>
                <a:latin typeface="Calibri"/>
              </a:rPr>
              <a:pPr/>
              <a:t>26</a:t>
            </a:fld>
            <a:endParaRPr lang="ja-JP" alt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59260" y="1018385"/>
            <a:ext cx="11125199" cy="343299"/>
          </a:xfrm>
        </p:spPr>
        <p:txBody>
          <a:bodyPr/>
          <a:lstStyle/>
          <a:p>
            <a:r>
              <a:rPr lang="en-US" dirty="0"/>
              <a:t>Which data type to pick?</a:t>
            </a:r>
          </a:p>
        </p:txBody>
      </p:sp>
      <p:pic>
        <p:nvPicPr>
          <p:cNvPr id="8" name="Picture 2" descr="json.png">
            <a:extLst>
              <a:ext uri="{FF2B5EF4-FFF2-40B4-BE49-F238E27FC236}">
                <a16:creationId xmlns:a16="http://schemas.microsoft.com/office/drawing/2014/main" id="{69238B6C-91BE-894A-A6AE-9918186DD5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679" y="381228"/>
            <a:ext cx="1600200" cy="1093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376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16008"/>
            <a:ext cx="11125200" cy="507772"/>
          </a:xfrm>
        </p:spPr>
        <p:txBody>
          <a:bodyPr/>
          <a:lstStyle/>
          <a:p>
            <a:r>
              <a:rPr lang="en-US" dirty="0"/>
              <a:t>Oracle Database as a Document Sto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33402" y="1202122"/>
            <a:ext cx="11125198" cy="343299"/>
          </a:xfrm>
        </p:spPr>
        <p:txBody>
          <a:bodyPr/>
          <a:lstStyle/>
          <a:p>
            <a:r>
              <a:rPr lang="en-US" b="0" dirty="0">
                <a:solidFill>
                  <a:srgbClr val="FF0000"/>
                </a:solidFill>
              </a:rPr>
              <a:t>Flexible Schema development </a:t>
            </a:r>
          </a:p>
        </p:txBody>
      </p:sp>
      <p:pic>
        <p:nvPicPr>
          <p:cNvPr id="7" name="Picture 6" descr="ic-Application-red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382" y="2022593"/>
            <a:ext cx="1946826" cy="1947333"/>
          </a:xfrm>
          <a:prstGeom prst="rect">
            <a:avLst/>
          </a:prstGeom>
        </p:spPr>
      </p:pic>
      <p:pic>
        <p:nvPicPr>
          <p:cNvPr id="8" name="Picture 7" descr="ic-Arrow1-red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7934" y="3517340"/>
            <a:ext cx="750979" cy="751175"/>
          </a:xfrm>
          <a:prstGeom prst="rect">
            <a:avLst/>
          </a:prstGeom>
        </p:spPr>
      </p:pic>
      <p:pic>
        <p:nvPicPr>
          <p:cNvPr id="10" name="Picture 9" descr="ic-BusinessIntelligence-red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8200" y="2267187"/>
            <a:ext cx="3131848" cy="3132664"/>
          </a:xfrm>
          <a:prstGeom prst="rect">
            <a:avLst/>
          </a:prstGeom>
        </p:spPr>
      </p:pic>
      <p:grpSp>
        <p:nvGrpSpPr>
          <p:cNvPr id="3" name="Group 12"/>
          <p:cNvGrpSpPr/>
          <p:nvPr/>
        </p:nvGrpSpPr>
        <p:grpSpPr>
          <a:xfrm>
            <a:off x="2420545" y="4169364"/>
            <a:ext cx="2264715" cy="769527"/>
            <a:chOff x="1885244" y="2463800"/>
            <a:chExt cx="1698979" cy="577145"/>
          </a:xfrm>
        </p:grpSpPr>
        <p:pic>
          <p:nvPicPr>
            <p:cNvPr id="9" name="Picture 8" descr="ic-Arrow1-gray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885244" y="2463800"/>
              <a:ext cx="577145" cy="577145"/>
            </a:xfrm>
            <a:prstGeom prst="rect">
              <a:avLst/>
            </a:prstGeom>
          </p:spPr>
        </p:pic>
        <p:pic>
          <p:nvPicPr>
            <p:cNvPr id="11" name="Picture 10" descr="ic-Arrow1-gray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7078" y="2463800"/>
              <a:ext cx="577145" cy="577145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2307167" y="2552317"/>
              <a:ext cx="795137" cy="3808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700" dirty="0">
                  <a:solidFill>
                    <a:schemeClr val="tx2"/>
                  </a:solidFill>
                </a:rPr>
                <a:t>JSON</a:t>
              </a:r>
            </a:p>
          </p:txBody>
        </p:sp>
      </p:grpSp>
      <p:grpSp>
        <p:nvGrpSpPr>
          <p:cNvPr id="6" name="Group 13"/>
          <p:cNvGrpSpPr/>
          <p:nvPr/>
        </p:nvGrpSpPr>
        <p:grpSpPr>
          <a:xfrm>
            <a:off x="2420545" y="3049883"/>
            <a:ext cx="2264715" cy="769527"/>
            <a:chOff x="1885244" y="2463800"/>
            <a:chExt cx="1698979" cy="577145"/>
          </a:xfrm>
        </p:grpSpPr>
        <p:pic>
          <p:nvPicPr>
            <p:cNvPr id="15" name="Picture 14" descr="ic-Arrow1-gray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885244" y="2463800"/>
              <a:ext cx="577145" cy="577145"/>
            </a:xfrm>
            <a:prstGeom prst="rect">
              <a:avLst/>
            </a:prstGeom>
          </p:spPr>
        </p:pic>
        <p:pic>
          <p:nvPicPr>
            <p:cNvPr id="16" name="Picture 15" descr="ic-Arrow1-gray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7078" y="2463800"/>
              <a:ext cx="577145" cy="577145"/>
            </a:xfrm>
            <a:prstGeom prst="rect">
              <a:avLst/>
            </a:prstGeom>
          </p:spPr>
        </p:pic>
        <p:sp>
          <p:nvSpPr>
            <p:cNvPr id="17" name="TextBox 16"/>
            <p:cNvSpPr txBox="1"/>
            <p:nvPr/>
          </p:nvSpPr>
          <p:spPr>
            <a:xfrm>
              <a:off x="2307167" y="2552317"/>
              <a:ext cx="795137" cy="3808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700" dirty="0">
                  <a:solidFill>
                    <a:schemeClr val="tx2"/>
                  </a:solidFill>
                </a:rPr>
                <a:t>JSON</a:t>
              </a:r>
            </a:p>
          </p:txBody>
        </p:sp>
      </p:grpSp>
      <p:pic>
        <p:nvPicPr>
          <p:cNvPr id="19" name="Picture 18" descr="ic-Application-gray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001" y="3715927"/>
            <a:ext cx="1946826" cy="1947333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2597358" y="3668888"/>
            <a:ext cx="1910096" cy="353921"/>
          </a:xfrm>
          <a:prstGeom prst="rect">
            <a:avLst/>
          </a:prstGeom>
          <a:noFill/>
        </p:spPr>
        <p:txBody>
          <a:bodyPr wrap="none" lIns="121899" tIns="60949" rIns="121899" bIns="60949" rtlCol="0">
            <a:spAutoFit/>
          </a:bodyPr>
          <a:lstStyle/>
          <a:p>
            <a:r>
              <a:rPr lang="en-US" sz="1500" dirty="0">
                <a:solidFill>
                  <a:schemeClr val="tx2"/>
                </a:solidFill>
              </a:rPr>
              <a:t>Via </a:t>
            </a:r>
            <a:r>
              <a:rPr lang="en-US" sz="1500" dirty="0" err="1">
                <a:solidFill>
                  <a:schemeClr val="tx2"/>
                </a:solidFill>
              </a:rPr>
              <a:t>RESTful</a:t>
            </a:r>
            <a:r>
              <a:rPr lang="en-US" sz="1500" dirty="0">
                <a:solidFill>
                  <a:schemeClr val="tx2"/>
                </a:solidFill>
              </a:rPr>
              <a:t> servic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841888" y="4825999"/>
            <a:ext cx="1559039" cy="353921"/>
          </a:xfrm>
          <a:prstGeom prst="rect">
            <a:avLst/>
          </a:prstGeom>
          <a:noFill/>
        </p:spPr>
        <p:txBody>
          <a:bodyPr wrap="none" lIns="121899" tIns="60949" rIns="121899" bIns="60949" rtlCol="0">
            <a:spAutoFit/>
          </a:bodyPr>
          <a:lstStyle/>
          <a:p>
            <a:r>
              <a:rPr lang="en-US" sz="1500" dirty="0">
                <a:solidFill>
                  <a:schemeClr val="tx2"/>
                </a:solidFill>
              </a:rPr>
              <a:t>Via Native API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799987" y="4986446"/>
            <a:ext cx="2547450" cy="584753"/>
          </a:xfrm>
          <a:prstGeom prst="rect">
            <a:avLst/>
          </a:prstGeom>
          <a:noFill/>
        </p:spPr>
        <p:txBody>
          <a:bodyPr wrap="none" lIns="121899" tIns="60949" rIns="121899" bIns="60949" rtlCol="0">
            <a:spAutoFit/>
          </a:bodyPr>
          <a:lstStyle/>
          <a:p>
            <a:pPr algn="ctr"/>
            <a:r>
              <a:rPr lang="en-US" sz="1500" dirty="0">
                <a:solidFill>
                  <a:schemeClr val="tx2"/>
                </a:solidFill>
              </a:rPr>
              <a:t>Data persisted in database</a:t>
            </a:r>
          </a:p>
          <a:p>
            <a:pPr algn="ctr"/>
            <a:r>
              <a:rPr lang="en-US" sz="1500" dirty="0">
                <a:solidFill>
                  <a:schemeClr val="tx2"/>
                </a:solidFill>
              </a:rPr>
              <a:t>In JSON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838902" y="3632642"/>
            <a:ext cx="896998" cy="538587"/>
          </a:xfrm>
          <a:prstGeom prst="rect">
            <a:avLst/>
          </a:prstGeom>
          <a:noFill/>
        </p:spPr>
        <p:txBody>
          <a:bodyPr wrap="none" lIns="121899" tIns="60949" rIns="121899" bIns="60949" rtlCol="0">
            <a:spAutoFit/>
          </a:bodyPr>
          <a:lstStyle/>
          <a:p>
            <a:r>
              <a:rPr lang="en-US" sz="2700" dirty="0">
                <a:solidFill>
                  <a:schemeClr val="tx2"/>
                </a:solidFill>
              </a:rPr>
              <a:t>SQ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218448" y="4920071"/>
            <a:ext cx="2181965" cy="353921"/>
          </a:xfrm>
          <a:prstGeom prst="rect">
            <a:avLst/>
          </a:prstGeom>
          <a:noFill/>
        </p:spPr>
        <p:txBody>
          <a:bodyPr wrap="none" lIns="121899" tIns="60949" rIns="121899" bIns="60949" rtlCol="0">
            <a:spAutoFit/>
          </a:bodyPr>
          <a:lstStyle/>
          <a:p>
            <a:r>
              <a:rPr lang="en-US" sz="1500" dirty="0">
                <a:solidFill>
                  <a:schemeClr val="tx2"/>
                </a:solidFill>
              </a:rPr>
              <a:t>Data analyzed via SQL</a:t>
            </a:r>
          </a:p>
        </p:txBody>
      </p:sp>
      <p:pic>
        <p:nvPicPr>
          <p:cNvPr id="33" name="Picture 32" descr="ic-Arrow1-red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7268041" y="3504752"/>
            <a:ext cx="750979" cy="751175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277600" y="6556248"/>
            <a:ext cx="381661" cy="18288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51EAA63-D034-42AE-91FA-B13B9518C7BE}" type="slidenum">
              <a:rPr lang="es-ES" smtClean="0"/>
              <a:pPr/>
              <a:t>27</a:t>
            </a:fld>
            <a:endParaRPr lang="en-US" dirty="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465307" y="3049882"/>
            <a:ext cx="1629962" cy="1629962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5538491" y="3741390"/>
            <a:ext cx="843901" cy="576886"/>
          </a:xfrm>
          <a:prstGeom prst="rect">
            <a:avLst/>
          </a:prstGeom>
        </p:spPr>
      </p:pic>
      <p:pic>
        <p:nvPicPr>
          <p:cNvPr id="25" name="Picture 2" descr="json.png">
            <a:extLst>
              <a:ext uri="{FF2B5EF4-FFF2-40B4-BE49-F238E27FC236}">
                <a16:creationId xmlns:a16="http://schemas.microsoft.com/office/drawing/2014/main" id="{78865294-E92E-C843-9DB2-6BE640D79A7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679" y="381228"/>
            <a:ext cx="1600200" cy="1093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547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Title 1"/>
          <p:cNvSpPr>
            <a:spLocks noGrp="1"/>
          </p:cNvSpPr>
          <p:nvPr>
            <p:ph type="title"/>
          </p:nvPr>
        </p:nvSpPr>
        <p:spPr>
          <a:xfrm>
            <a:off x="532735" y="203451"/>
            <a:ext cx="11125199" cy="889000"/>
          </a:xfrm>
        </p:spPr>
        <p:txBody>
          <a:bodyPr/>
          <a:lstStyle/>
          <a:p>
            <a:r>
              <a:rPr lang="en-US" dirty="0"/>
              <a:t>JSON Support in Oracle Database</a:t>
            </a:r>
          </a:p>
        </p:txBody>
      </p:sp>
      <p:sp>
        <p:nvSpPr>
          <p:cNvPr id="6451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31399" y="1079384"/>
            <a:ext cx="11126535" cy="342900"/>
          </a:xfrm>
        </p:spPr>
        <p:txBody>
          <a:bodyPr/>
          <a:lstStyle/>
          <a:p>
            <a:pPr marL="0">
              <a:spcBef>
                <a:spcPct val="0"/>
              </a:spcBef>
            </a:pPr>
            <a:r>
              <a:rPr lang="en-US" b="0" dirty="0">
                <a:solidFill>
                  <a:schemeClr val="accent1"/>
                </a:solidFill>
              </a:rPr>
              <a:t>Fast Application Development + Powerful SQL Access</a:t>
            </a:r>
          </a:p>
        </p:txBody>
      </p:sp>
      <p:sp>
        <p:nvSpPr>
          <p:cNvPr id="64517" name="Slide Number Placeholder 8"/>
          <p:cNvSpPr>
            <a:spLocks noGrp="1"/>
          </p:cNvSpPr>
          <p:nvPr>
            <p:ph type="sldNum" sz="quarter" idx="4294967295"/>
          </p:nvPr>
        </p:nvSpPr>
        <p:spPr bwMode="auto">
          <a:xfrm>
            <a:off x="11277600" y="6556248"/>
            <a:ext cx="381661" cy="18288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51EAA63-D034-42AE-91FA-B13B9518C7BE}" type="slidenum">
              <a:rPr lang="es-ES" smtClean="0"/>
              <a:pPr/>
              <a:t>28</a:t>
            </a:fld>
            <a:endParaRPr lang="en-US"/>
          </a:p>
        </p:txBody>
      </p:sp>
      <p:grpSp>
        <p:nvGrpSpPr>
          <p:cNvPr id="2" name="Group 31"/>
          <p:cNvGrpSpPr>
            <a:grpSpLocks/>
          </p:cNvGrpSpPr>
          <p:nvPr/>
        </p:nvGrpSpPr>
        <p:grpSpPr bwMode="auto">
          <a:xfrm>
            <a:off x="395187" y="2032002"/>
            <a:ext cx="4422681" cy="4311531"/>
            <a:chOff x="505279" y="1483476"/>
            <a:chExt cx="5033473" cy="4908406"/>
          </a:xfrm>
        </p:grpSpPr>
        <p:sp>
          <p:nvSpPr>
            <p:cNvPr id="64527" name="Rectangle 32"/>
            <p:cNvSpPr>
              <a:spLocks noChangeArrowheads="1"/>
            </p:cNvSpPr>
            <p:nvPr/>
          </p:nvSpPr>
          <p:spPr bwMode="auto">
            <a:xfrm>
              <a:off x="505279" y="1483476"/>
              <a:ext cx="5033473" cy="1086163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121899" tIns="60949" rIns="121899" bIns="60949">
              <a:spAutoFit/>
            </a:bodyPr>
            <a:lstStyle/>
            <a:p>
              <a:pPr marL="0" lvl="1"/>
              <a:r>
                <a:rPr lang="en-US"/>
                <a:t>Application developers:</a:t>
              </a:r>
            </a:p>
            <a:p>
              <a:pPr marL="0" lvl="1"/>
              <a:r>
                <a:rPr lang="en-US"/>
                <a:t>Access JSON documents using RESTful API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10095" y="2613497"/>
              <a:ext cx="5021432" cy="3778385"/>
            </a:xfrm>
            <a:prstGeom prst="rect">
              <a:avLst/>
            </a:prstGeom>
            <a:solidFill>
              <a:schemeClr val="bg2"/>
            </a:solidFill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0" tIns="0" rIns="0" bIns="0" anchor="ctr"/>
            <a:lstStyle>
              <a:lvl1pPr marL="171473" indent="-171473" defTabSz="685891">
                <a:lnSpc>
                  <a:spcPct val="90000"/>
                </a:lnSpc>
                <a:spcBef>
                  <a:spcPts val="90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2100">
                  <a:solidFill>
                    <a:schemeClr val="dk1"/>
                  </a:solidFill>
                </a:defRPr>
              </a:lvl1pPr>
              <a:lvl2pPr marL="115888" lvl="1" indent="-115888" defTabSz="68589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charset="0"/>
                <a:buNone/>
                <a:defRPr sz="1000">
                  <a:solidFill>
                    <a:schemeClr val="dk1"/>
                  </a:solidFill>
                </a:defRPr>
              </a:lvl2pPr>
              <a:lvl3pPr marL="548713" indent="-137178" defTabSz="685891">
                <a:lnSpc>
                  <a:spcPct val="90000"/>
                </a:lnSpc>
                <a:spcBef>
                  <a:spcPts val="45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1500">
                  <a:solidFill>
                    <a:schemeClr val="dk1"/>
                  </a:solidFill>
                </a:defRPr>
              </a:lvl3pPr>
              <a:lvl4pPr marL="720186" indent="-137178" defTabSz="685891">
                <a:lnSpc>
                  <a:spcPct val="90000"/>
                </a:lnSpc>
                <a:spcBef>
                  <a:spcPts val="45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–"/>
                <a:defRPr sz="1400">
                  <a:solidFill>
                    <a:schemeClr val="dk1"/>
                  </a:solidFill>
                </a:defRPr>
              </a:lvl4pPr>
              <a:lvl5pPr marL="891659" indent="-137178" defTabSz="685891">
                <a:lnSpc>
                  <a:spcPct val="90000"/>
                </a:lnSpc>
                <a:spcBef>
                  <a:spcPts val="45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1200">
                  <a:solidFill>
                    <a:schemeClr val="dk1"/>
                  </a:solidFill>
                </a:defRPr>
              </a:lvl5pPr>
              <a:lvl6pPr marL="1063132" indent="-137178" defTabSz="685891">
                <a:lnSpc>
                  <a:spcPct val="90000"/>
                </a:lnSpc>
                <a:spcBef>
                  <a:spcPts val="45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–"/>
                <a:defRPr sz="1200">
                  <a:solidFill>
                    <a:schemeClr val="dk1"/>
                  </a:solidFill>
                </a:defRPr>
              </a:lvl6pPr>
              <a:lvl7pPr marL="1234605" indent="-137178" defTabSz="685891">
                <a:lnSpc>
                  <a:spcPct val="90000"/>
                </a:lnSpc>
                <a:spcBef>
                  <a:spcPts val="45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1200">
                  <a:solidFill>
                    <a:schemeClr val="dk1"/>
                  </a:solidFill>
                </a:defRPr>
              </a:lvl7pPr>
              <a:lvl8pPr marL="1406077" indent="-137178" defTabSz="685891">
                <a:lnSpc>
                  <a:spcPct val="90000"/>
                </a:lnSpc>
                <a:spcBef>
                  <a:spcPts val="45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–"/>
                <a:defRPr sz="1200">
                  <a:solidFill>
                    <a:schemeClr val="dk1"/>
                  </a:solidFill>
                </a:defRPr>
              </a:lvl8pPr>
              <a:lvl9pPr marL="1577550" indent="-137178" defTabSz="685891">
                <a:lnSpc>
                  <a:spcPct val="90000"/>
                </a:lnSpc>
                <a:spcBef>
                  <a:spcPts val="45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1200">
                  <a:solidFill>
                    <a:schemeClr val="dk1"/>
                  </a:solidFill>
                </a:defRPr>
              </a:lvl9pPr>
            </a:lstStyle>
            <a:p>
              <a:pPr marL="154484" indent="-6350">
                <a:spcBef>
                  <a:spcPts val="0"/>
                </a:spcBef>
                <a:buNone/>
                <a:defRPr/>
              </a:pPr>
              <a:r>
                <a:rPr lang="en-US" sz="1200" dirty="0">
                  <a:latin typeface="Courier"/>
                  <a:cs typeface="Courier"/>
                </a:rPr>
                <a:t>PUT /</a:t>
              </a:r>
              <a:r>
                <a:rPr lang="en-US" sz="1200" dirty="0" err="1">
                  <a:latin typeface="Courier"/>
                  <a:cs typeface="Courier"/>
                </a:rPr>
                <a:t>my_database</a:t>
              </a:r>
              <a:r>
                <a:rPr lang="en-US" sz="1200" dirty="0">
                  <a:latin typeface="Courier"/>
                  <a:cs typeface="Courier"/>
                </a:rPr>
                <a:t>/</a:t>
              </a:r>
              <a:r>
                <a:rPr lang="en-US" sz="1200" dirty="0" err="1">
                  <a:latin typeface="Courier"/>
                  <a:cs typeface="Courier"/>
                </a:rPr>
                <a:t>my_schema</a:t>
              </a:r>
              <a:r>
                <a:rPr lang="en-US" sz="1200" dirty="0">
                  <a:latin typeface="Courier"/>
                  <a:cs typeface="Courier"/>
                </a:rPr>
                <a:t>/customers HTTP/1.0</a:t>
              </a:r>
            </a:p>
            <a:p>
              <a:pPr marL="154484" indent="-6350">
                <a:spcBef>
                  <a:spcPts val="0"/>
                </a:spcBef>
                <a:buNone/>
                <a:defRPr/>
              </a:pPr>
              <a:r>
                <a:rPr lang="en-US" sz="1200" dirty="0">
                  <a:latin typeface="Courier"/>
                  <a:cs typeface="Courier"/>
                </a:rPr>
                <a:t>Content-Type: application/</a:t>
              </a:r>
              <a:r>
                <a:rPr lang="en-US" sz="1200" dirty="0" err="1">
                  <a:latin typeface="Courier"/>
                  <a:cs typeface="Courier"/>
                </a:rPr>
                <a:t>json</a:t>
              </a:r>
              <a:endParaRPr lang="en-US" sz="1200" dirty="0">
                <a:latin typeface="Courier"/>
                <a:cs typeface="Courier"/>
              </a:endParaRPr>
            </a:p>
            <a:p>
              <a:pPr marL="154484" indent="-6350">
                <a:spcBef>
                  <a:spcPts val="0"/>
                </a:spcBef>
                <a:buNone/>
                <a:defRPr/>
              </a:pPr>
              <a:r>
                <a:rPr lang="en-US" sz="1200" dirty="0">
                  <a:latin typeface="Courier"/>
                  <a:cs typeface="Courier"/>
                </a:rPr>
                <a:t>Body: </a:t>
              </a:r>
            </a:p>
            <a:p>
              <a:pPr marL="154484" indent="-6350">
                <a:spcBef>
                  <a:spcPts val="0"/>
                </a:spcBef>
                <a:buNone/>
                <a:defRPr/>
              </a:pPr>
              <a:r>
                <a:rPr lang="en-US" sz="1500" dirty="0">
                  <a:latin typeface="Courier"/>
                  <a:cs typeface="Courier"/>
                </a:rPr>
                <a:t>{	</a:t>
              </a:r>
            </a:p>
            <a:p>
              <a:pPr marL="154484" lvl="1" indent="-6350">
                <a:spcBef>
                  <a:spcPts val="0"/>
                </a:spcBef>
                <a:defRPr/>
              </a:pPr>
              <a:r>
                <a:rPr lang="en-US" sz="1200" dirty="0">
                  <a:latin typeface="Courier"/>
                  <a:cs typeface="Courier"/>
                </a:rPr>
                <a:t>	 "</a:t>
              </a:r>
              <a:r>
                <a:rPr lang="en-US" sz="1200" dirty="0" err="1">
                  <a:latin typeface="Courier"/>
                  <a:cs typeface="Courier"/>
                </a:rPr>
                <a:t>firstName</a:t>
              </a:r>
              <a:r>
                <a:rPr lang="en-US" sz="1200" dirty="0">
                  <a:latin typeface="Courier"/>
                  <a:cs typeface="Courier"/>
                </a:rPr>
                <a:t>": "John",</a:t>
              </a:r>
              <a:br>
                <a:rPr lang="en-US" sz="1200" dirty="0">
                  <a:latin typeface="Courier"/>
                  <a:cs typeface="Courier"/>
                </a:rPr>
              </a:br>
              <a:r>
                <a:rPr lang="en-US" sz="1200" dirty="0">
                  <a:latin typeface="Courier"/>
                  <a:cs typeface="Courier"/>
                </a:rPr>
                <a:t> “</a:t>
              </a:r>
              <a:r>
                <a:rPr lang="en-US" sz="1200" dirty="0" err="1">
                  <a:latin typeface="Courier"/>
                  <a:cs typeface="Courier"/>
                </a:rPr>
                <a:t>lastName</a:t>
              </a:r>
              <a:r>
                <a:rPr lang="en-US" sz="1200" dirty="0">
                  <a:latin typeface="Courier"/>
                  <a:cs typeface="Courier"/>
                </a:rPr>
                <a:t>”: "Smith",</a:t>
              </a:r>
              <a:br>
                <a:rPr lang="en-US" sz="1200" dirty="0">
                  <a:latin typeface="Courier"/>
                  <a:cs typeface="Courier"/>
                </a:rPr>
              </a:br>
              <a:r>
                <a:rPr lang="en-US" sz="1200" dirty="0">
                  <a:latin typeface="Courier"/>
                  <a:cs typeface="Courier"/>
                </a:rPr>
                <a:t> "age": 25,</a:t>
              </a:r>
              <a:br>
                <a:rPr lang="en-US" sz="1200" dirty="0">
                  <a:latin typeface="Courier"/>
                  <a:cs typeface="Courier"/>
                </a:rPr>
              </a:br>
              <a:r>
                <a:rPr lang="en-US" sz="1200" dirty="0">
                  <a:latin typeface="Courier"/>
                  <a:cs typeface="Courier"/>
                </a:rPr>
                <a:t> "address": {</a:t>
              </a:r>
              <a:br>
                <a:rPr lang="en-US" sz="1200" dirty="0">
                  <a:latin typeface="Courier"/>
                  <a:cs typeface="Courier"/>
                </a:rPr>
              </a:br>
              <a:r>
                <a:rPr lang="en-US" sz="1200" dirty="0">
                  <a:latin typeface="Courier"/>
                  <a:cs typeface="Courier"/>
                </a:rPr>
                <a:t>	"</a:t>
              </a:r>
              <a:r>
                <a:rPr lang="en-US" sz="1200" dirty="0" err="1">
                  <a:latin typeface="Courier"/>
                  <a:cs typeface="Courier"/>
                </a:rPr>
                <a:t>streetAddress</a:t>
              </a:r>
              <a:r>
                <a:rPr lang="en-US" sz="1200" dirty="0">
                  <a:latin typeface="Courier"/>
                  <a:cs typeface="Courier"/>
                </a:rPr>
                <a:t>": "21 2nd Street",</a:t>
              </a:r>
              <a:br>
                <a:rPr lang="en-US" sz="1200" dirty="0">
                  <a:latin typeface="Courier"/>
                  <a:cs typeface="Courier"/>
                </a:rPr>
              </a:br>
              <a:r>
                <a:rPr lang="en-US" sz="1200" dirty="0">
                  <a:latin typeface="Courier"/>
                  <a:cs typeface="Courier"/>
                </a:rPr>
                <a:t>	"city": "New York",</a:t>
              </a:r>
              <a:br>
                <a:rPr lang="en-US" sz="1200" dirty="0">
                  <a:latin typeface="Courier"/>
                  <a:cs typeface="Courier"/>
                </a:rPr>
              </a:br>
              <a:r>
                <a:rPr lang="en-US" sz="1200" dirty="0">
                  <a:latin typeface="Courier"/>
                  <a:cs typeface="Courier"/>
                </a:rPr>
                <a:t>  	"state": "NY",</a:t>
              </a:r>
              <a:br>
                <a:rPr lang="en-US" sz="1200" dirty="0">
                  <a:latin typeface="Courier"/>
                  <a:cs typeface="Courier"/>
                </a:rPr>
              </a:br>
              <a:r>
                <a:rPr lang="en-US" sz="1200" dirty="0">
                  <a:latin typeface="Courier"/>
                  <a:cs typeface="Courier"/>
                </a:rPr>
                <a:t>	"</a:t>
              </a:r>
              <a:r>
                <a:rPr lang="en-US" sz="1200" dirty="0" err="1">
                  <a:latin typeface="Courier"/>
                  <a:cs typeface="Courier"/>
                </a:rPr>
                <a:t>postalCode</a:t>
              </a:r>
              <a:r>
                <a:rPr lang="en-US" sz="1200" dirty="0">
                  <a:latin typeface="Courier"/>
                  <a:cs typeface="Courier"/>
                </a:rPr>
                <a:t>": "10021“,</a:t>
              </a:r>
              <a:br>
                <a:rPr lang="en-US" sz="1200" dirty="0">
                  <a:latin typeface="Courier"/>
                  <a:cs typeface="Courier"/>
                </a:rPr>
              </a:br>
              <a:r>
                <a:rPr lang="en-US" sz="1200" dirty="0">
                  <a:latin typeface="Courier"/>
                  <a:cs typeface="Courier"/>
                </a:rPr>
                <a:t>	"</a:t>
              </a:r>
              <a:r>
                <a:rPr lang="en-US" sz="1200" dirty="0" err="1">
                  <a:latin typeface="Courier"/>
                  <a:cs typeface="Courier"/>
                </a:rPr>
                <a:t>isBusiness</a:t>
              </a:r>
              <a:r>
                <a:rPr lang="en-US" sz="1200" dirty="0">
                  <a:latin typeface="Courier"/>
                  <a:cs typeface="Courier"/>
                </a:rPr>
                <a:t>" : false  },</a:t>
              </a:r>
              <a:br>
                <a:rPr lang="en-US" sz="1200" dirty="0">
                  <a:latin typeface="Courier"/>
                  <a:cs typeface="Courier"/>
                </a:rPr>
              </a:br>
              <a:r>
                <a:rPr lang="en-US" sz="1200" dirty="0">
                  <a:latin typeface="Courier"/>
                  <a:cs typeface="Courier"/>
                </a:rPr>
                <a:t>  "</a:t>
              </a:r>
              <a:r>
                <a:rPr lang="en-US" sz="1200" dirty="0" err="1">
                  <a:latin typeface="Courier"/>
                  <a:cs typeface="Courier"/>
                </a:rPr>
                <a:t>phoneNumbers</a:t>
              </a:r>
              <a:r>
                <a:rPr lang="en-US" sz="1200" dirty="0">
                  <a:latin typeface="Courier"/>
                  <a:cs typeface="Courier"/>
                </a:rPr>
                <a:t>": [</a:t>
              </a:r>
              <a:br>
                <a:rPr lang="en-US" sz="1200" dirty="0">
                  <a:latin typeface="Courier"/>
                  <a:cs typeface="Courier"/>
                </a:rPr>
              </a:br>
              <a:r>
                <a:rPr lang="en-US" sz="1200" dirty="0">
                  <a:latin typeface="Courier"/>
                  <a:cs typeface="Courier"/>
                </a:rPr>
                <a:t>	{"type": "home",</a:t>
              </a:r>
              <a:br>
                <a:rPr lang="en-US" sz="1200" dirty="0">
                  <a:latin typeface="Courier"/>
                  <a:cs typeface="Courier"/>
                </a:rPr>
              </a:br>
              <a:r>
                <a:rPr lang="en-US" sz="1200" dirty="0">
                  <a:latin typeface="Courier"/>
                  <a:cs typeface="Courier"/>
                </a:rPr>
                <a:t>	 "number": "212 555-1234“ },</a:t>
              </a:r>
              <a:br>
                <a:rPr lang="en-US" sz="1200" dirty="0">
                  <a:latin typeface="Courier"/>
                  <a:cs typeface="Courier"/>
                </a:rPr>
              </a:br>
              <a:r>
                <a:rPr lang="en-US" sz="1200" dirty="0">
                  <a:latin typeface="Courier"/>
                  <a:cs typeface="Courier"/>
                </a:rPr>
                <a:t>	{"type": "fax",</a:t>
              </a:r>
              <a:br>
                <a:rPr lang="en-US" sz="1200" dirty="0">
                  <a:latin typeface="Courier"/>
                  <a:cs typeface="Courier"/>
                </a:rPr>
              </a:br>
              <a:r>
                <a:rPr lang="en-US" sz="1200" dirty="0">
                  <a:latin typeface="Courier"/>
                  <a:cs typeface="Courier"/>
                </a:rPr>
                <a:t>	 "number": "646 555-4567“ }  ]</a:t>
              </a:r>
            </a:p>
            <a:p>
              <a:pPr marL="154484" lvl="1" indent="-6350">
                <a:spcBef>
                  <a:spcPts val="0"/>
                </a:spcBef>
                <a:defRPr/>
              </a:pPr>
              <a:r>
                <a:rPr lang="en-US" sz="1200" dirty="0">
                  <a:latin typeface="Courier"/>
                  <a:cs typeface="Courier"/>
                </a:rPr>
                <a:t>}</a:t>
              </a:r>
            </a:p>
          </p:txBody>
        </p:sp>
      </p:grpSp>
      <p:grpSp>
        <p:nvGrpSpPr>
          <p:cNvPr id="3" name="Group 34"/>
          <p:cNvGrpSpPr>
            <a:grpSpLocks/>
          </p:cNvGrpSpPr>
          <p:nvPr/>
        </p:nvGrpSpPr>
        <p:grpSpPr bwMode="auto">
          <a:xfrm>
            <a:off x="7446084" y="2032000"/>
            <a:ext cx="4371895" cy="4024870"/>
            <a:chOff x="6656037" y="1508223"/>
            <a:chExt cx="5025662" cy="4584353"/>
          </a:xfrm>
        </p:grpSpPr>
        <p:sp>
          <p:nvSpPr>
            <p:cNvPr id="36" name="TextBox 35"/>
            <p:cNvSpPr txBox="1"/>
            <p:nvPr/>
          </p:nvSpPr>
          <p:spPr>
            <a:xfrm>
              <a:off x="6656037" y="2312290"/>
              <a:ext cx="5020797" cy="3780286"/>
            </a:xfrm>
            <a:prstGeom prst="rect">
              <a:avLst/>
            </a:prstGeom>
            <a:solidFill>
              <a:schemeClr val="bg2"/>
            </a:solidFill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0" tIns="0" rIns="0" bIns="0" anchor="ctr"/>
            <a:lstStyle>
              <a:lvl1pPr marL="171473" indent="-171473" defTabSz="685891">
                <a:lnSpc>
                  <a:spcPct val="90000"/>
                </a:lnSpc>
                <a:spcBef>
                  <a:spcPts val="90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2100">
                  <a:solidFill>
                    <a:schemeClr val="dk1"/>
                  </a:solidFill>
                </a:defRPr>
              </a:lvl1pPr>
              <a:lvl2pPr marL="115888" lvl="1" indent="-115888" defTabSz="68589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charset="0"/>
                <a:buNone/>
                <a:defRPr sz="1000">
                  <a:solidFill>
                    <a:schemeClr val="dk1"/>
                  </a:solidFill>
                </a:defRPr>
              </a:lvl2pPr>
              <a:lvl3pPr marL="548713" indent="-137178" defTabSz="685891">
                <a:lnSpc>
                  <a:spcPct val="90000"/>
                </a:lnSpc>
                <a:spcBef>
                  <a:spcPts val="45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1500">
                  <a:solidFill>
                    <a:schemeClr val="dk1"/>
                  </a:solidFill>
                </a:defRPr>
              </a:lvl3pPr>
              <a:lvl4pPr marL="720186" indent="-137178" defTabSz="685891">
                <a:lnSpc>
                  <a:spcPct val="90000"/>
                </a:lnSpc>
                <a:spcBef>
                  <a:spcPts val="45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–"/>
                <a:defRPr sz="1400">
                  <a:solidFill>
                    <a:schemeClr val="dk1"/>
                  </a:solidFill>
                </a:defRPr>
              </a:lvl4pPr>
              <a:lvl5pPr marL="891659" indent="-137178" defTabSz="685891">
                <a:lnSpc>
                  <a:spcPct val="90000"/>
                </a:lnSpc>
                <a:spcBef>
                  <a:spcPts val="45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1200">
                  <a:solidFill>
                    <a:schemeClr val="dk1"/>
                  </a:solidFill>
                </a:defRPr>
              </a:lvl5pPr>
              <a:lvl6pPr marL="1063132" indent="-137178" defTabSz="685891">
                <a:lnSpc>
                  <a:spcPct val="90000"/>
                </a:lnSpc>
                <a:spcBef>
                  <a:spcPts val="45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–"/>
                <a:defRPr sz="1200">
                  <a:solidFill>
                    <a:schemeClr val="dk1"/>
                  </a:solidFill>
                </a:defRPr>
              </a:lvl6pPr>
              <a:lvl7pPr marL="1234605" indent="-137178" defTabSz="685891">
                <a:lnSpc>
                  <a:spcPct val="90000"/>
                </a:lnSpc>
                <a:spcBef>
                  <a:spcPts val="45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1200">
                  <a:solidFill>
                    <a:schemeClr val="dk1"/>
                  </a:solidFill>
                </a:defRPr>
              </a:lvl7pPr>
              <a:lvl8pPr marL="1406077" indent="-137178" defTabSz="685891">
                <a:lnSpc>
                  <a:spcPct val="90000"/>
                </a:lnSpc>
                <a:spcBef>
                  <a:spcPts val="45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–"/>
                <a:defRPr sz="1200">
                  <a:solidFill>
                    <a:schemeClr val="dk1"/>
                  </a:solidFill>
                </a:defRPr>
              </a:lvl8pPr>
              <a:lvl9pPr marL="1577550" indent="-137178" defTabSz="685891">
                <a:lnSpc>
                  <a:spcPct val="90000"/>
                </a:lnSpc>
                <a:spcBef>
                  <a:spcPts val="45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1200">
                  <a:solidFill>
                    <a:schemeClr val="dk1"/>
                  </a:solidFill>
                </a:defRPr>
              </a:lvl9pPr>
            </a:lstStyle>
            <a:p>
              <a:pPr marL="323781" lvl="1">
                <a:spcBef>
                  <a:spcPts val="0"/>
                </a:spcBef>
                <a:defRPr/>
              </a:pPr>
              <a:r>
                <a:rPr lang="en-US" sz="1200" dirty="0">
                  <a:latin typeface="Courier"/>
                  <a:cs typeface="Courier"/>
                </a:rPr>
                <a:t>select </a:t>
              </a:r>
            </a:p>
            <a:p>
              <a:pPr marL="323781" lvl="1">
                <a:spcBef>
                  <a:spcPts val="0"/>
                </a:spcBef>
                <a:defRPr/>
              </a:pPr>
              <a:r>
                <a:rPr lang="en-US" sz="1200" dirty="0">
                  <a:latin typeface="Courier"/>
                  <a:cs typeface="Courier"/>
                </a:rPr>
                <a:t>  </a:t>
              </a:r>
              <a:r>
                <a:rPr lang="en-US" sz="1200" dirty="0" err="1">
                  <a:latin typeface="Courier"/>
                  <a:cs typeface="Courier"/>
                </a:rPr>
                <a:t>c.json_document.firstName</a:t>
              </a:r>
              <a:r>
                <a:rPr lang="en-US" sz="1200" dirty="0">
                  <a:latin typeface="Courier"/>
                  <a:cs typeface="Courier"/>
                </a:rPr>
                <a:t>,</a:t>
              </a:r>
            </a:p>
            <a:p>
              <a:pPr marL="323781" lvl="1">
                <a:spcBef>
                  <a:spcPts val="0"/>
                </a:spcBef>
                <a:defRPr/>
              </a:pPr>
              <a:r>
                <a:rPr lang="en-US" sz="1200" dirty="0">
                  <a:latin typeface="Courier"/>
                  <a:cs typeface="Courier"/>
                </a:rPr>
                <a:t>  </a:t>
              </a:r>
              <a:r>
                <a:rPr lang="en-US" sz="1200" dirty="0" err="1">
                  <a:latin typeface="Courier"/>
                  <a:cs typeface="Courier"/>
                </a:rPr>
                <a:t>c.json_document.lastName</a:t>
              </a:r>
              <a:r>
                <a:rPr lang="en-US" sz="1200" dirty="0">
                  <a:latin typeface="Courier"/>
                  <a:cs typeface="Courier"/>
                </a:rPr>
                <a:t>,</a:t>
              </a:r>
            </a:p>
            <a:p>
              <a:pPr marL="323781" lvl="1">
                <a:spcBef>
                  <a:spcPts val="0"/>
                </a:spcBef>
                <a:defRPr/>
              </a:pPr>
              <a:r>
                <a:rPr lang="en-US" sz="1200" dirty="0">
                  <a:latin typeface="Courier"/>
                  <a:cs typeface="Courier"/>
                </a:rPr>
                <a:t>  </a:t>
              </a:r>
              <a:r>
                <a:rPr lang="en-US" sz="1200" dirty="0" err="1">
                  <a:latin typeface="Courier"/>
                  <a:cs typeface="Courier"/>
                </a:rPr>
                <a:t>c.json_document.address.city</a:t>
              </a:r>
              <a:endParaRPr lang="en-US" sz="1200" dirty="0">
                <a:latin typeface="Courier"/>
                <a:cs typeface="Courier"/>
              </a:endParaRPr>
            </a:p>
            <a:p>
              <a:pPr marL="323781" lvl="1">
                <a:spcBef>
                  <a:spcPts val="0"/>
                </a:spcBef>
                <a:defRPr/>
              </a:pPr>
              <a:r>
                <a:rPr lang="en-US" sz="1200" dirty="0">
                  <a:latin typeface="Courier"/>
                  <a:cs typeface="Courier"/>
                </a:rPr>
                <a:t>from customers c;</a:t>
              </a:r>
            </a:p>
            <a:p>
              <a:pPr marL="323781" lvl="1">
                <a:spcBef>
                  <a:spcPts val="0"/>
                </a:spcBef>
                <a:defRPr/>
              </a:pPr>
              <a:endParaRPr lang="en-US" sz="1200" dirty="0">
                <a:latin typeface="Courier"/>
                <a:cs typeface="Courier"/>
              </a:endParaRPr>
            </a:p>
            <a:p>
              <a:pPr marL="323781" lvl="1">
                <a:spcBef>
                  <a:spcPts val="0"/>
                </a:spcBef>
                <a:defRPr/>
              </a:pPr>
              <a:endParaRPr lang="en-US" sz="1200" dirty="0">
                <a:latin typeface="Courier"/>
                <a:cs typeface="Courier"/>
              </a:endParaRPr>
            </a:p>
            <a:p>
              <a:pPr marL="323781" lvl="1">
                <a:spcBef>
                  <a:spcPts val="0"/>
                </a:spcBef>
                <a:defRPr/>
              </a:pPr>
              <a:r>
                <a:rPr lang="en-US" sz="1200" dirty="0" err="1">
                  <a:latin typeface="Courier"/>
                  <a:cs typeface="Courier"/>
                </a:rPr>
                <a:t>firstName</a:t>
              </a:r>
              <a:r>
                <a:rPr lang="en-US" sz="1200" dirty="0">
                  <a:latin typeface="Courier"/>
                  <a:cs typeface="Courier"/>
                </a:rPr>
                <a:t>    </a:t>
              </a:r>
              <a:r>
                <a:rPr lang="en-US" sz="1200" dirty="0" err="1">
                  <a:latin typeface="Courier"/>
                  <a:cs typeface="Courier"/>
                </a:rPr>
                <a:t>lastName</a:t>
              </a:r>
              <a:r>
                <a:rPr lang="en-US" sz="1200" dirty="0">
                  <a:latin typeface="Courier"/>
                  <a:cs typeface="Courier"/>
                </a:rPr>
                <a:t>     </a:t>
              </a:r>
              <a:r>
                <a:rPr lang="en-US" sz="1200" dirty="0" err="1">
                  <a:latin typeface="Courier"/>
                  <a:cs typeface="Courier"/>
                </a:rPr>
                <a:t>address.city</a:t>
              </a:r>
              <a:endParaRPr lang="en-US" sz="1200" dirty="0">
                <a:latin typeface="Courier"/>
                <a:cs typeface="Courier"/>
              </a:endParaRPr>
            </a:p>
            <a:p>
              <a:pPr marL="323781" lvl="1">
                <a:spcBef>
                  <a:spcPts val="0"/>
                </a:spcBef>
                <a:defRPr/>
              </a:pPr>
              <a:r>
                <a:rPr lang="en-US" sz="1200" dirty="0">
                  <a:latin typeface="Courier"/>
                  <a:cs typeface="Courier"/>
                </a:rPr>
                <a:t>-----------  -----------  --------------</a:t>
              </a:r>
            </a:p>
            <a:p>
              <a:pPr marL="323781" lvl="1">
                <a:spcBef>
                  <a:spcPts val="0"/>
                </a:spcBef>
                <a:defRPr/>
              </a:pPr>
              <a:r>
                <a:rPr lang="en-US" sz="1200" dirty="0">
                  <a:latin typeface="Courier"/>
                  <a:cs typeface="Courier"/>
                </a:rPr>
                <a:t>“John”       “Smith”      “New York”</a:t>
              </a:r>
            </a:p>
          </p:txBody>
        </p:sp>
        <p:sp>
          <p:nvSpPr>
            <p:cNvPr id="64526" name="TextBox 36"/>
            <p:cNvSpPr txBox="1">
              <a:spLocks noChangeArrowheads="1"/>
            </p:cNvSpPr>
            <p:nvPr/>
          </p:nvSpPr>
          <p:spPr bwMode="auto">
            <a:xfrm>
              <a:off x="6668826" y="1508223"/>
              <a:ext cx="5012873" cy="771205"/>
            </a:xfrm>
            <a:prstGeom prst="rect">
              <a:avLst/>
            </a:prstGeom>
            <a:noFill/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lIns="121899" tIns="60949" rIns="121899" bIns="60949">
              <a:spAutoFit/>
            </a:bodyPr>
            <a:lstStyle/>
            <a:p>
              <a:r>
                <a:rPr lang="en-US" dirty="0">
                  <a:solidFill>
                    <a:schemeClr val="tx2"/>
                  </a:solidFill>
                </a:rPr>
                <a:t>SQL Developers and Analytical tools: </a:t>
              </a:r>
            </a:p>
            <a:p>
              <a:r>
                <a:rPr lang="en-US" dirty="0">
                  <a:solidFill>
                    <a:schemeClr val="tx2"/>
                  </a:solidFill>
                </a:rPr>
                <a:t>Query JSON using SQL </a:t>
              </a:r>
            </a:p>
          </p:txBody>
        </p:sp>
      </p:grpSp>
      <p:grpSp>
        <p:nvGrpSpPr>
          <p:cNvPr id="4" name="Group 5"/>
          <p:cNvGrpSpPr>
            <a:grpSpLocks/>
          </p:cNvGrpSpPr>
          <p:nvPr/>
        </p:nvGrpSpPr>
        <p:grpSpPr bwMode="auto">
          <a:xfrm>
            <a:off x="4843421" y="2992966"/>
            <a:ext cx="2649063" cy="2188634"/>
            <a:chOff x="4842141" y="2992495"/>
            <a:chExt cx="2649187" cy="2189374"/>
          </a:xfrm>
        </p:grpSpPr>
        <p:pic>
          <p:nvPicPr>
            <p:cNvPr id="64521" name="Picture 37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387524" y="3411444"/>
              <a:ext cx="1622513" cy="17704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oup 4"/>
            <p:cNvGrpSpPr>
              <a:grpSpLocks/>
            </p:cNvGrpSpPr>
            <p:nvPr/>
          </p:nvGrpSpPr>
          <p:grpSpPr bwMode="auto">
            <a:xfrm>
              <a:off x="4842141" y="2992495"/>
              <a:ext cx="2649187" cy="2189374"/>
              <a:chOff x="4488409" y="2291455"/>
              <a:chExt cx="3152166" cy="2605051"/>
            </a:xfrm>
          </p:grpSpPr>
          <p:sp>
            <p:nvSpPr>
              <p:cNvPr id="26" name="Text Box 14"/>
              <p:cNvSpPr txBox="1">
                <a:spLocks noChangeArrowheads="1"/>
              </p:cNvSpPr>
              <p:nvPr/>
            </p:nvSpPr>
            <p:spPr bwMode="auto">
              <a:xfrm>
                <a:off x="4488409" y="2291455"/>
                <a:ext cx="3152166" cy="532294"/>
              </a:xfrm>
              <a:prstGeom prst="rect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wrap="none" lIns="122842" tIns="61421" rIns="122842" bIns="61421">
                <a:spAutoFit/>
              </a:bodyPr>
              <a:lstStyle/>
              <a:p>
                <a:pPr marL="158696" indent="-154464" algn="ctr" defTabSz="609392">
                  <a:buClr>
                    <a:srgbClr val="000000"/>
                  </a:buClr>
                  <a:buSzPct val="100000"/>
                  <a:tabLst>
                    <a:tab pos="158696" algn="l"/>
                    <a:tab pos="768088" algn="l"/>
                    <a:tab pos="1377480" algn="l"/>
                    <a:tab pos="1986872" algn="l"/>
                    <a:tab pos="2596264" algn="l"/>
                    <a:tab pos="3205655" algn="l"/>
                    <a:tab pos="3815048" algn="l"/>
                    <a:tab pos="4424439" algn="l"/>
                    <a:tab pos="5033830" algn="l"/>
                    <a:tab pos="5643220" algn="l"/>
                    <a:tab pos="6252615" algn="l"/>
                    <a:tab pos="6862006" algn="l"/>
                    <a:tab pos="7471396" algn="l"/>
                    <a:tab pos="8080787" algn="l"/>
                    <a:tab pos="8690180" algn="l"/>
                    <a:tab pos="9299571" algn="l"/>
                    <a:tab pos="9908963" algn="l"/>
                    <a:tab pos="10518355" algn="l"/>
                    <a:tab pos="11127747" algn="l"/>
                    <a:tab pos="11737139" algn="l"/>
                    <a:tab pos="12346531" algn="l"/>
                  </a:tabLst>
                  <a:defRPr/>
                </a:pPr>
                <a:r>
                  <a:rPr lang="en-US" sz="2100" dirty="0">
                    <a:solidFill>
                      <a:schemeClr val="accent1"/>
                    </a:solidFill>
                    <a:latin typeface="+mj-lt"/>
                    <a:cs typeface="ＭＳ Ｐゴシック" pitchFamily="-111" charset="-128"/>
                  </a:rPr>
                  <a:t>Oracle Database 12c</a:t>
                </a:r>
              </a:p>
            </p:txBody>
          </p:sp>
          <p:sp>
            <p:nvSpPr>
              <p:cNvPr id="30" name="Snip Single Corner Rectangle 29"/>
              <p:cNvSpPr/>
              <p:nvPr/>
            </p:nvSpPr>
            <p:spPr>
              <a:xfrm>
                <a:off x="5067362" y="3961811"/>
                <a:ext cx="856121" cy="934695"/>
              </a:xfrm>
              <a:prstGeom prst="snip1Rect">
                <a:avLst/>
              </a:prstGeom>
              <a:solidFill>
                <a:schemeClr val="bg1"/>
              </a:solidFill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60947" rIns="0" bIns="60947" anchor="ctr"/>
              <a:lstStyle/>
              <a:p>
                <a:pPr algn="ctr">
                  <a:defRPr/>
                </a:pPr>
                <a:r>
                  <a:rPr lang="en-US" sz="2000" b="1" dirty="0">
                    <a:solidFill>
                      <a:schemeClr val="accent1"/>
                    </a:solidFill>
                  </a:rPr>
                  <a:t>JSON</a:t>
                </a:r>
                <a:endParaRPr lang="en-US" b="1" dirty="0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17" name="Picture 2" descr="json.png">
            <a:extLst>
              <a:ext uri="{FF2B5EF4-FFF2-40B4-BE49-F238E27FC236}">
                <a16:creationId xmlns:a16="http://schemas.microsoft.com/office/drawing/2014/main" id="{59F01173-153D-634B-8A61-AAEEE37E5D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679" y="381228"/>
            <a:ext cx="1600200" cy="1093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559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7725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3" presetClass="entr" presetSubtype="52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4117072" y="1721913"/>
            <a:ext cx="3669700" cy="2139408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038" y="738790"/>
            <a:ext cx="10969924" cy="541860"/>
          </a:xfrm>
        </p:spPr>
        <p:txBody>
          <a:bodyPr/>
          <a:lstStyle/>
          <a:p>
            <a:r>
              <a:rPr lang="en-US" dirty="0"/>
              <a:t>Oracle REST Data Services </a:t>
            </a:r>
            <a:br>
              <a:rPr lang="en-US" dirty="0"/>
            </a:br>
            <a:r>
              <a:rPr lang="en-US" sz="2700" dirty="0">
                <a:solidFill>
                  <a:schemeClr val="accent1"/>
                </a:solidFill>
              </a:rPr>
              <a:t>Serving JSON results from relational data</a:t>
            </a:r>
            <a:endParaRPr lang="en-US" dirty="0"/>
          </a:p>
        </p:txBody>
      </p:sp>
      <p:sp>
        <p:nvSpPr>
          <p:cNvPr id="69" name="Rectangle 68"/>
          <p:cNvSpPr/>
          <p:nvPr/>
        </p:nvSpPr>
        <p:spPr>
          <a:xfrm>
            <a:off x="9672308" y="3595930"/>
            <a:ext cx="2078145" cy="415476"/>
          </a:xfrm>
          <a:prstGeom prst="rect">
            <a:avLst/>
          </a:prstGeom>
        </p:spPr>
        <p:txBody>
          <a:bodyPr wrap="square" lIns="121899" tIns="60949" rIns="121899" bIns="60949">
            <a:spAutoFit/>
          </a:bodyPr>
          <a:lstStyle/>
          <a:p>
            <a:pPr algn="ctr"/>
            <a:r>
              <a:rPr lang="en-US" sz="1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acle Database</a:t>
            </a:r>
          </a:p>
        </p:txBody>
      </p:sp>
      <p:sp>
        <p:nvSpPr>
          <p:cNvPr id="50" name="Pentagon 49"/>
          <p:cNvSpPr/>
          <p:nvPr/>
        </p:nvSpPr>
        <p:spPr>
          <a:xfrm>
            <a:off x="7029601" y="2229747"/>
            <a:ext cx="2784629" cy="517073"/>
          </a:xfrm>
          <a:prstGeom prst="homePlate">
            <a:avLst>
              <a:gd name="adj" fmla="val 1911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 lang="en-US"/>
          </a:p>
        </p:txBody>
      </p:sp>
      <p:sp>
        <p:nvSpPr>
          <p:cNvPr id="48" name="Pentagon 47"/>
          <p:cNvSpPr/>
          <p:nvPr/>
        </p:nvSpPr>
        <p:spPr>
          <a:xfrm>
            <a:off x="4258996" y="2229334"/>
            <a:ext cx="2868853" cy="517073"/>
          </a:xfrm>
          <a:prstGeom prst="homePlate">
            <a:avLst>
              <a:gd name="adj" fmla="val 1911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 lang="en-US"/>
          </a:p>
        </p:txBody>
      </p:sp>
      <p:sp>
        <p:nvSpPr>
          <p:cNvPr id="53" name="Pentagon 52"/>
          <p:cNvSpPr/>
          <p:nvPr/>
        </p:nvSpPr>
        <p:spPr>
          <a:xfrm>
            <a:off x="2335233" y="2228921"/>
            <a:ext cx="2014999" cy="517073"/>
          </a:xfrm>
          <a:prstGeom prst="homePlate">
            <a:avLst>
              <a:gd name="adj" fmla="val 19116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 lang="en-US"/>
          </a:p>
        </p:txBody>
      </p:sp>
      <p:sp>
        <p:nvSpPr>
          <p:cNvPr id="56" name="Rectangle 55"/>
          <p:cNvSpPr/>
          <p:nvPr/>
        </p:nvSpPr>
        <p:spPr>
          <a:xfrm>
            <a:off x="2474142" y="2244826"/>
            <a:ext cx="674181" cy="446254"/>
          </a:xfrm>
          <a:prstGeom prst="rect">
            <a:avLst/>
          </a:prstGeom>
        </p:spPr>
        <p:txBody>
          <a:bodyPr wrap="none" lIns="121899" tIns="60949" rIns="121899" bIns="60949">
            <a:spAutoFit/>
          </a:bodyPr>
          <a:lstStyle/>
          <a:p>
            <a:r>
              <a:rPr lang="en-US" sz="2100" dirty="0">
                <a:solidFill>
                  <a:schemeClr val="bg1"/>
                </a:solidFill>
              </a:rPr>
              <a:t>URI</a:t>
            </a:r>
          </a:p>
        </p:txBody>
      </p:sp>
      <p:sp>
        <p:nvSpPr>
          <p:cNvPr id="86" name="Rectangle 85"/>
          <p:cNvSpPr/>
          <p:nvPr/>
        </p:nvSpPr>
        <p:spPr>
          <a:xfrm>
            <a:off x="600636" y="3573654"/>
            <a:ext cx="1824368" cy="415476"/>
          </a:xfrm>
          <a:prstGeom prst="rect">
            <a:avLst/>
          </a:prstGeom>
        </p:spPr>
        <p:txBody>
          <a:bodyPr wrap="none" lIns="121899" tIns="60949" rIns="121899" bIns="60949">
            <a:spAutoFit/>
          </a:bodyPr>
          <a:lstStyle/>
          <a:p>
            <a:r>
              <a:rPr lang="en-US" sz="1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TTP(S) client</a:t>
            </a:r>
          </a:p>
        </p:txBody>
      </p:sp>
      <p:sp>
        <p:nvSpPr>
          <p:cNvPr id="91" name="Rectangle 90"/>
          <p:cNvSpPr/>
          <p:nvPr/>
        </p:nvSpPr>
        <p:spPr>
          <a:xfrm>
            <a:off x="4385421" y="1772020"/>
            <a:ext cx="3142100" cy="415476"/>
          </a:xfrm>
          <a:prstGeom prst="rect">
            <a:avLst/>
          </a:prstGeom>
        </p:spPr>
        <p:txBody>
          <a:bodyPr wrap="none" lIns="121899" tIns="60949" rIns="121899" bIns="60949">
            <a:spAutoFit/>
          </a:bodyPr>
          <a:lstStyle/>
          <a:p>
            <a:r>
              <a:rPr lang="en-US" sz="1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acle REST Data Services</a:t>
            </a:r>
          </a:p>
        </p:txBody>
      </p:sp>
      <p:sp>
        <p:nvSpPr>
          <p:cNvPr id="49" name="Rectangle 48"/>
          <p:cNvSpPr/>
          <p:nvPr/>
        </p:nvSpPr>
        <p:spPr>
          <a:xfrm>
            <a:off x="4897356" y="2265518"/>
            <a:ext cx="1937347" cy="446254"/>
          </a:xfrm>
          <a:prstGeom prst="rect">
            <a:avLst/>
          </a:prstGeom>
        </p:spPr>
        <p:txBody>
          <a:bodyPr wrap="none" lIns="121899" tIns="60949" rIns="121899" bIns="60949">
            <a:spAutoFit/>
          </a:bodyPr>
          <a:lstStyle/>
          <a:p>
            <a:r>
              <a:rPr lang="en-US" sz="2100" dirty="0">
                <a:solidFill>
                  <a:schemeClr val="bg1"/>
                </a:solidFill>
              </a:rPr>
              <a:t>Map and Bind</a:t>
            </a:r>
          </a:p>
        </p:txBody>
      </p:sp>
      <p:sp>
        <p:nvSpPr>
          <p:cNvPr id="51" name="Rectangle 50"/>
          <p:cNvSpPr/>
          <p:nvPr/>
        </p:nvSpPr>
        <p:spPr>
          <a:xfrm>
            <a:off x="7898399" y="2265931"/>
            <a:ext cx="752728" cy="446254"/>
          </a:xfrm>
          <a:prstGeom prst="rect">
            <a:avLst/>
          </a:prstGeom>
        </p:spPr>
        <p:txBody>
          <a:bodyPr wrap="none" lIns="121899" tIns="60949" rIns="121899" bIns="60949">
            <a:spAutoFit/>
          </a:bodyPr>
          <a:lstStyle/>
          <a:p>
            <a:r>
              <a:rPr lang="en-US" sz="2100" dirty="0">
                <a:solidFill>
                  <a:schemeClr val="bg1"/>
                </a:solidFill>
              </a:rPr>
              <a:t>SQL</a:t>
            </a:r>
          </a:p>
        </p:txBody>
      </p:sp>
      <p:sp>
        <p:nvSpPr>
          <p:cNvPr id="66" name="Rectangle 65"/>
          <p:cNvSpPr/>
          <p:nvPr/>
        </p:nvSpPr>
        <p:spPr>
          <a:xfrm>
            <a:off x="2687832" y="2955406"/>
            <a:ext cx="1499984" cy="446254"/>
          </a:xfrm>
          <a:prstGeom prst="rect">
            <a:avLst/>
          </a:prstGeom>
        </p:spPr>
        <p:txBody>
          <a:bodyPr wrap="none" lIns="121899" tIns="60949" rIns="121899" bIns="60949">
            <a:spAutoFit/>
          </a:bodyPr>
          <a:lstStyle/>
          <a:p>
            <a:r>
              <a:rPr lang="en-US" sz="2100" dirty="0">
                <a:solidFill>
                  <a:schemeClr val="bg1"/>
                </a:solidFill>
              </a:rPr>
              <a:t>Transform</a:t>
            </a:r>
          </a:p>
        </p:txBody>
      </p:sp>
      <p:sp>
        <p:nvSpPr>
          <p:cNvPr id="67" name="Pentagon 66"/>
          <p:cNvSpPr/>
          <p:nvPr/>
        </p:nvSpPr>
        <p:spPr>
          <a:xfrm flipH="1">
            <a:off x="2221800" y="2920049"/>
            <a:ext cx="2575674" cy="517073"/>
          </a:xfrm>
          <a:prstGeom prst="homePlate">
            <a:avLst>
              <a:gd name="adj" fmla="val 1911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 lang="en-US"/>
          </a:p>
        </p:txBody>
      </p:sp>
      <p:sp>
        <p:nvSpPr>
          <p:cNvPr id="63" name="Pentagon 62"/>
          <p:cNvSpPr/>
          <p:nvPr/>
        </p:nvSpPr>
        <p:spPr>
          <a:xfrm flipH="1">
            <a:off x="4228585" y="2919223"/>
            <a:ext cx="3264207" cy="517073"/>
          </a:xfrm>
          <a:prstGeom prst="homePlate">
            <a:avLst>
              <a:gd name="adj" fmla="val 1911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 lang="en-US"/>
          </a:p>
        </p:txBody>
      </p:sp>
      <p:sp>
        <p:nvSpPr>
          <p:cNvPr id="52" name="Pentagon 51"/>
          <p:cNvSpPr/>
          <p:nvPr/>
        </p:nvSpPr>
        <p:spPr>
          <a:xfrm flipH="1">
            <a:off x="7016337" y="2919635"/>
            <a:ext cx="2716795" cy="517073"/>
          </a:xfrm>
          <a:prstGeom prst="homePlate">
            <a:avLst>
              <a:gd name="adj" fmla="val 1911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 lang="en-US"/>
          </a:p>
        </p:txBody>
      </p:sp>
      <p:sp>
        <p:nvSpPr>
          <p:cNvPr id="62" name="Rectangle 61"/>
          <p:cNvSpPr/>
          <p:nvPr/>
        </p:nvSpPr>
        <p:spPr>
          <a:xfrm>
            <a:off x="7351384" y="2955819"/>
            <a:ext cx="2026859" cy="446254"/>
          </a:xfrm>
          <a:prstGeom prst="rect">
            <a:avLst/>
          </a:prstGeom>
        </p:spPr>
        <p:txBody>
          <a:bodyPr wrap="none" lIns="121899" tIns="60949" rIns="121899" bIns="60949">
            <a:spAutoFit/>
          </a:bodyPr>
          <a:lstStyle/>
          <a:p>
            <a:r>
              <a:rPr lang="en-US" sz="2100" dirty="0">
                <a:solidFill>
                  <a:schemeClr val="bg1"/>
                </a:solidFill>
              </a:rPr>
              <a:t>SQL Result Set</a:t>
            </a:r>
          </a:p>
        </p:txBody>
      </p:sp>
      <p:sp>
        <p:nvSpPr>
          <p:cNvPr id="77" name="Rectangle 76"/>
          <p:cNvSpPr/>
          <p:nvPr/>
        </p:nvSpPr>
        <p:spPr>
          <a:xfrm>
            <a:off x="4381584" y="2935127"/>
            <a:ext cx="2558479" cy="446254"/>
          </a:xfrm>
          <a:prstGeom prst="rect">
            <a:avLst/>
          </a:prstGeom>
        </p:spPr>
        <p:txBody>
          <a:bodyPr wrap="none" lIns="121899" tIns="60949" rIns="121899" bIns="60949">
            <a:spAutoFit/>
          </a:bodyPr>
          <a:lstStyle/>
          <a:p>
            <a:r>
              <a:rPr lang="en-US" sz="2100" dirty="0">
                <a:solidFill>
                  <a:schemeClr val="bg1"/>
                </a:solidFill>
              </a:rPr>
              <a:t>Transform to JSON</a:t>
            </a:r>
          </a:p>
        </p:txBody>
      </p:sp>
      <p:sp>
        <p:nvSpPr>
          <p:cNvPr id="80" name="Rectangle 79"/>
          <p:cNvSpPr/>
          <p:nvPr/>
        </p:nvSpPr>
        <p:spPr>
          <a:xfrm>
            <a:off x="2433993" y="2944854"/>
            <a:ext cx="927456" cy="446254"/>
          </a:xfrm>
          <a:prstGeom prst="rect">
            <a:avLst/>
          </a:prstGeom>
        </p:spPr>
        <p:txBody>
          <a:bodyPr wrap="none" lIns="121899" tIns="60949" rIns="121899" bIns="60949">
            <a:spAutoFit/>
          </a:bodyPr>
          <a:lstStyle/>
          <a:p>
            <a:r>
              <a:rPr lang="en-US" sz="2100" dirty="0">
                <a:solidFill>
                  <a:schemeClr val="bg1"/>
                </a:solidFill>
              </a:rPr>
              <a:t>JSON</a:t>
            </a:r>
          </a:p>
        </p:txBody>
      </p:sp>
      <p:sp>
        <p:nvSpPr>
          <p:cNvPr id="96" name="Text Box 31"/>
          <p:cNvSpPr txBox="1">
            <a:spLocks noChangeArrowheads="1"/>
          </p:cNvSpPr>
          <p:nvPr/>
        </p:nvSpPr>
        <p:spPr bwMode="gray">
          <a:xfrm>
            <a:off x="513263" y="4508721"/>
            <a:ext cx="11038266" cy="1341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899" tIns="60949" rIns="121899" bIns="60949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380933" indent="-380933" eaLnBrk="1" hangingPunct="1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2400" dirty="0"/>
              <a:t>Data stored in standard relational tables and columns</a:t>
            </a:r>
          </a:p>
          <a:p>
            <a:pPr marL="380933" indent="-380933" eaLnBrk="1" hangingPunct="1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2400" dirty="0"/>
              <a:t>Oracle REST Data Services (ORDS) Developer defines  URI&lt;&gt;SQL mapping</a:t>
            </a:r>
          </a:p>
          <a:p>
            <a:pPr marL="380933" indent="-380933" eaLnBrk="1" hangingPunct="1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2400" dirty="0"/>
              <a:t>App Developer calls named URI over HTTP(S) gets and posts</a:t>
            </a:r>
          </a:p>
        </p:txBody>
      </p:sp>
      <p:pic>
        <p:nvPicPr>
          <p:cNvPr id="23" name="Picture 22" descr="ic-Application-gray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781" y="1751100"/>
            <a:ext cx="1946826" cy="1947333"/>
          </a:xfrm>
          <a:prstGeom prst="rect">
            <a:avLst/>
          </a:prstGeom>
        </p:spPr>
      </p:pic>
      <p:pic>
        <p:nvPicPr>
          <p:cNvPr id="24" name="Picture 23" descr="ic-Database-red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718103" y="1818234"/>
            <a:ext cx="2008934" cy="2009457"/>
          </a:xfrm>
          <a:prstGeom prst="rect">
            <a:avLst/>
          </a:prstGeom>
        </p:spPr>
      </p:pic>
      <p:pic>
        <p:nvPicPr>
          <p:cNvPr id="25" name="Picture 4" descr="rest1.png">
            <a:extLst>
              <a:ext uri="{FF2B5EF4-FFF2-40B4-BE49-F238E27FC236}">
                <a16:creationId xmlns:a16="http://schemas.microsoft.com/office/drawing/2014/main" id="{F30519FD-1EBC-D244-B060-B0E2A08E027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7596" y="330463"/>
            <a:ext cx="966825" cy="967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791289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C76E1649-D7AD-344B-AFE2-33772BA3C4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/>
              <a:t>Overview</a:t>
            </a:r>
            <a:endParaRPr lang="es-ES" dirty="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B5F6DC83-F56F-3E4F-91DD-51ACE9D9FB48}"/>
              </a:ext>
            </a:extLst>
          </p:cNvPr>
          <p:cNvSpPr txBox="1"/>
          <p:nvPr/>
        </p:nvSpPr>
        <p:spPr>
          <a:xfrm>
            <a:off x="3275730" y="2300748"/>
            <a:ext cx="5471652" cy="23449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s-ES" sz="4000" dirty="0" err="1"/>
              <a:t>MultiTenant</a:t>
            </a:r>
            <a:endParaRPr lang="es-ES" sz="4000" dirty="0"/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s-ES" sz="4000" dirty="0" err="1"/>
              <a:t>MultiModel</a:t>
            </a:r>
            <a:r>
              <a:rPr lang="es-ES" sz="4000" dirty="0"/>
              <a:t> - JSON</a:t>
            </a: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s-ES" sz="4000" dirty="0" err="1"/>
              <a:t>InMemory</a:t>
            </a:r>
            <a:endParaRPr lang="es-ES" sz="4000" dirty="0"/>
          </a:p>
        </p:txBody>
      </p:sp>
    </p:spTree>
    <p:extLst>
      <p:ext uri="{BB962C8B-B14F-4D97-AF65-F5344CB8AC3E}">
        <p14:creationId xmlns:p14="http://schemas.microsoft.com/office/powerpoint/2010/main" val="325434805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9739" y="356626"/>
            <a:ext cx="10969924" cy="541860"/>
          </a:xfrm>
        </p:spPr>
        <p:txBody>
          <a:bodyPr/>
          <a:lstStyle/>
          <a:p>
            <a:r>
              <a:rPr lang="en-US" dirty="0"/>
              <a:t>Oracle REST Data Servic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89740" y="893525"/>
            <a:ext cx="10969943" cy="406400"/>
          </a:xfrm>
        </p:spPr>
        <p:txBody>
          <a:bodyPr/>
          <a:lstStyle/>
          <a:p>
            <a:r>
              <a:rPr lang="en-US" dirty="0"/>
              <a:t>HTTP(s) API App-Dev with Relational Tables in Oracle Database</a:t>
            </a:r>
          </a:p>
        </p:txBody>
      </p:sp>
      <p:pic>
        <p:nvPicPr>
          <p:cNvPr id="6" name="Picture 5" descr="ppt_display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572" y="1471904"/>
            <a:ext cx="1492209" cy="1492597"/>
          </a:xfrm>
          <a:prstGeom prst="rect">
            <a:avLst/>
          </a:prstGeom>
        </p:spPr>
      </p:pic>
      <p:cxnSp>
        <p:nvCxnSpPr>
          <p:cNvPr id="17" name="Straight Arrow Connector 16"/>
          <p:cNvCxnSpPr/>
          <p:nvPr/>
        </p:nvCxnSpPr>
        <p:spPr>
          <a:xfrm flipH="1" flipV="1">
            <a:off x="729925" y="3134490"/>
            <a:ext cx="13018" cy="807899"/>
          </a:xfrm>
          <a:prstGeom prst="straightConnector1">
            <a:avLst/>
          </a:prstGeom>
          <a:ln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>
            <a:off x="750199" y="3940807"/>
            <a:ext cx="1612317" cy="1"/>
          </a:xfrm>
          <a:prstGeom prst="straightConnector1">
            <a:avLst/>
          </a:prstGeom>
          <a:ln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1269288" y="2974198"/>
            <a:ext cx="4564925" cy="2339080"/>
          </a:xfrm>
          <a:prstGeom prst="rect">
            <a:avLst/>
          </a:prstGeom>
          <a:solidFill>
            <a:srgbClr val="77B9DB"/>
          </a:solidFill>
        </p:spPr>
        <p:txBody>
          <a:bodyPr wrap="none" lIns="121899" tIns="60949" rIns="121899" bIns="60949">
            <a:spAutoFit/>
          </a:bodyPr>
          <a:lstStyle/>
          <a:p>
            <a:r>
              <a:rPr lang="en-US" sz="1600" dirty="0"/>
              <a:t>{  “</a:t>
            </a:r>
            <a:r>
              <a:rPr lang="en-US" sz="1600" dirty="0" err="1"/>
              <a:t>custno</a:t>
            </a:r>
            <a:r>
              <a:rPr lang="en-US" sz="1600" dirty="0"/>
              <a:t>”:  1001,</a:t>
            </a:r>
          </a:p>
          <a:p>
            <a:r>
              <a:rPr lang="en-US" sz="1600" dirty="0"/>
              <a:t>    “name”:   “Scott King”,</a:t>
            </a:r>
          </a:p>
          <a:p>
            <a:r>
              <a:rPr lang="en-US" sz="1600" dirty="0"/>
              <a:t>    “address”:  “500 Main street, Innovation CA”,</a:t>
            </a:r>
          </a:p>
          <a:p>
            <a:r>
              <a:rPr lang="en-US" sz="1600" dirty="0"/>
              <a:t>    “orders”: [ { “</a:t>
            </a:r>
            <a:r>
              <a:rPr lang="en-US" sz="1600" dirty="0" err="1"/>
              <a:t>orderno</a:t>
            </a:r>
            <a:r>
              <a:rPr lang="en-US" sz="1600" dirty="0"/>
              <a:t>”:  404,</a:t>
            </a:r>
          </a:p>
          <a:p>
            <a:r>
              <a:rPr lang="en-US" sz="1600" dirty="0"/>
              <a:t>                       “</a:t>
            </a:r>
            <a:r>
              <a:rPr lang="en-US" sz="1600" dirty="0" err="1"/>
              <a:t>orderdate</a:t>
            </a:r>
            <a:r>
              <a:rPr lang="en-US" sz="1600" dirty="0"/>
              <a:t>”: “Feb 27, 2016”,</a:t>
            </a:r>
          </a:p>
          <a:p>
            <a:r>
              <a:rPr lang="en-US" sz="1600" dirty="0"/>
              <a:t>                       “status”: “in process”} } } </a:t>
            </a:r>
          </a:p>
          <a:p>
            <a:r>
              <a:rPr lang="en-US" sz="1600" dirty="0"/>
              <a:t>                    { “</a:t>
            </a:r>
            <a:r>
              <a:rPr lang="en-US" sz="1600" dirty="0" err="1"/>
              <a:t>orderno</a:t>
            </a:r>
            <a:r>
              <a:rPr lang="en-US" sz="1600" dirty="0"/>
              <a:t>”:  303,</a:t>
            </a:r>
          </a:p>
          <a:p>
            <a:r>
              <a:rPr lang="en-US" sz="1600" dirty="0"/>
              <a:t>                      “</a:t>
            </a:r>
            <a:r>
              <a:rPr lang="en-US" sz="1600" dirty="0" err="1"/>
              <a:t>orderdate</a:t>
            </a:r>
            <a:r>
              <a:rPr lang="en-US" sz="1600" dirty="0"/>
              <a:t>”: “Feb 26, 2016”,</a:t>
            </a:r>
          </a:p>
          <a:p>
            <a:r>
              <a:rPr lang="en-US" sz="1600" dirty="0"/>
              <a:t>                      “status”: “in process”} ] }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360784" y="3913387"/>
            <a:ext cx="763949" cy="369310"/>
          </a:xfrm>
          <a:prstGeom prst="rect">
            <a:avLst/>
          </a:prstGeom>
        </p:spPr>
        <p:txBody>
          <a:bodyPr wrap="none" lIns="121899" tIns="60949" rIns="121899" bIns="60949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JSON</a:t>
            </a:r>
          </a:p>
        </p:txBody>
      </p:sp>
      <p:sp>
        <p:nvSpPr>
          <p:cNvPr id="27" name="Rectangle 26"/>
          <p:cNvSpPr/>
          <p:nvPr/>
        </p:nvSpPr>
        <p:spPr>
          <a:xfrm>
            <a:off x="2091712" y="1704775"/>
            <a:ext cx="6060259" cy="64919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7650721" y="1342675"/>
            <a:ext cx="1003246" cy="369310"/>
          </a:xfrm>
          <a:prstGeom prst="rect">
            <a:avLst/>
          </a:prstGeom>
        </p:spPr>
        <p:txBody>
          <a:bodyPr wrap="none" lIns="121899" tIns="60949" rIns="121899" bIns="60949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TTP(s)</a:t>
            </a:r>
          </a:p>
        </p:txBody>
      </p:sp>
      <p:cxnSp>
        <p:nvCxnSpPr>
          <p:cNvPr id="34" name="Straight Arrow Connector 33"/>
          <p:cNvCxnSpPr/>
          <p:nvPr/>
        </p:nvCxnSpPr>
        <p:spPr>
          <a:xfrm flipH="1">
            <a:off x="5683339" y="3884240"/>
            <a:ext cx="1850255" cy="0"/>
          </a:xfrm>
          <a:prstGeom prst="straightConnector1">
            <a:avLst/>
          </a:prstGeom>
          <a:ln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2225886" y="1810376"/>
            <a:ext cx="6202361" cy="446254"/>
          </a:xfrm>
          <a:prstGeom prst="rect">
            <a:avLst/>
          </a:prstGeom>
          <a:solidFill>
            <a:schemeClr val="bg1"/>
          </a:solidFill>
        </p:spPr>
        <p:txBody>
          <a:bodyPr wrap="none" lIns="121899" tIns="60949" rIns="121899" bIns="60949">
            <a:spAutoFit/>
          </a:bodyPr>
          <a:lstStyle/>
          <a:p>
            <a:r>
              <a:rPr lang="en-US" sz="2100" dirty="0"/>
              <a:t>https://myhost/myapp/</a:t>
            </a:r>
            <a:r>
              <a:rPr lang="en-US" sz="2100" dirty="0" err="1"/>
              <a:t>hr</a:t>
            </a:r>
            <a:r>
              <a:rPr lang="en-US" sz="2100" dirty="0"/>
              <a:t>/customerorders/1001</a:t>
            </a:r>
          </a:p>
        </p:txBody>
      </p:sp>
      <p:pic>
        <p:nvPicPr>
          <p:cNvPr id="15" name="Picture 14" descr="cylinder-hot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8106" y="3578976"/>
            <a:ext cx="1574990" cy="1575400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8511260" y="1693273"/>
            <a:ext cx="1573076" cy="17541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8540791" y="2273246"/>
            <a:ext cx="1498766" cy="615531"/>
          </a:xfrm>
          <a:prstGeom prst="rect">
            <a:avLst/>
          </a:prstGeom>
        </p:spPr>
        <p:txBody>
          <a:bodyPr wrap="none" lIns="121899" tIns="60949" rIns="121899" bIns="60949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Oracle REST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Data Services</a:t>
            </a:r>
          </a:p>
        </p:txBody>
      </p:sp>
      <p:cxnSp>
        <p:nvCxnSpPr>
          <p:cNvPr id="22" name="Straight Arrow Connector 21"/>
          <p:cNvCxnSpPr/>
          <p:nvPr/>
        </p:nvCxnSpPr>
        <p:spPr>
          <a:xfrm>
            <a:off x="10656571" y="2007590"/>
            <a:ext cx="0" cy="1528867"/>
          </a:xfrm>
          <a:prstGeom prst="straightConnector1">
            <a:avLst/>
          </a:prstGeom>
          <a:ln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 flipV="1">
            <a:off x="7519504" y="3133077"/>
            <a:ext cx="0" cy="756640"/>
          </a:xfrm>
          <a:prstGeom prst="straightConnector1">
            <a:avLst/>
          </a:prstGeom>
          <a:ln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10637460" y="2749853"/>
            <a:ext cx="632503" cy="369310"/>
          </a:xfrm>
          <a:prstGeom prst="rect">
            <a:avLst/>
          </a:prstGeom>
        </p:spPr>
        <p:txBody>
          <a:bodyPr wrap="none" lIns="121899" tIns="60949" rIns="121899" bIns="60949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QL</a:t>
            </a:r>
          </a:p>
        </p:txBody>
      </p:sp>
      <p:cxnSp>
        <p:nvCxnSpPr>
          <p:cNvPr id="33" name="Straight Arrow Connector 32"/>
          <p:cNvCxnSpPr/>
          <p:nvPr/>
        </p:nvCxnSpPr>
        <p:spPr>
          <a:xfrm>
            <a:off x="9432616" y="4146427"/>
            <a:ext cx="548393" cy="0"/>
          </a:xfrm>
          <a:prstGeom prst="straightConnector1">
            <a:avLst/>
          </a:prstGeom>
          <a:ln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V="1">
            <a:off x="9437075" y="3118017"/>
            <a:ext cx="5396" cy="1032856"/>
          </a:xfrm>
          <a:prstGeom prst="straightConnector1">
            <a:avLst/>
          </a:prstGeom>
          <a:ln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7503181" y="3118527"/>
            <a:ext cx="1925056" cy="0"/>
          </a:xfrm>
          <a:prstGeom prst="straightConnector1">
            <a:avLst/>
          </a:prstGeom>
          <a:ln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/>
        </p:nvSpPr>
        <p:spPr>
          <a:xfrm>
            <a:off x="325982" y="5369748"/>
            <a:ext cx="11445000" cy="723253"/>
          </a:xfrm>
          <a:prstGeom prst="rect">
            <a:avLst/>
          </a:prstGeom>
        </p:spPr>
        <p:txBody>
          <a:bodyPr wrap="square" lIns="121899" tIns="60949" rIns="121899" bIns="60949">
            <a:spAutoFit/>
          </a:bodyPr>
          <a:lstStyle/>
          <a:p>
            <a:pPr algn="ctr"/>
            <a:r>
              <a:rPr lang="en-US" sz="13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DS maps standard URI requests to corresponding relational SQL (not </a:t>
            </a:r>
            <a:r>
              <a:rPr lang="en-US" sz="13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chemaless</a:t>
            </a:r>
            <a:r>
              <a:rPr lang="en-US" sz="13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: e.g. SQL SELECT from customers and orders table.</a:t>
            </a:r>
          </a:p>
          <a:p>
            <a:pPr algn="ctr"/>
            <a:r>
              <a:rPr lang="en-US" sz="13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DS also transforms the SQL results </a:t>
            </a:r>
            <a:r>
              <a:rPr lang="en-US" sz="1300">
                <a:solidFill>
                  <a:schemeClr val="tx1">
                    <a:lumMod val="50000"/>
                    <a:lumOff val="50000"/>
                  </a:schemeClr>
                </a:solidFill>
              </a:rPr>
              <a:t>into JavaScript </a:t>
            </a:r>
            <a:r>
              <a:rPr lang="en-US" sz="13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bject Notation (JSON), other formats include HTML, binary and CSV.</a:t>
            </a:r>
          </a:p>
          <a:p>
            <a:pPr algn="ctr"/>
            <a:r>
              <a:rPr lang="en-US" sz="13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ully committed to supporting any and all standards required by Fusion / </a:t>
            </a:r>
            <a:r>
              <a:rPr lang="en-US" sz="13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aaS</a:t>
            </a:r>
            <a:r>
              <a:rPr lang="en-US" sz="13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/ FMW; we are actively engaged in the ongoing dialog.</a:t>
            </a:r>
          </a:p>
        </p:txBody>
      </p:sp>
      <p:sp>
        <p:nvSpPr>
          <p:cNvPr id="26" name="Rectangle 25"/>
          <p:cNvSpPr/>
          <p:nvPr/>
        </p:nvSpPr>
        <p:spPr>
          <a:xfrm>
            <a:off x="7945102" y="3756270"/>
            <a:ext cx="1230733" cy="630920"/>
          </a:xfrm>
          <a:prstGeom prst="rect">
            <a:avLst/>
          </a:prstGeom>
        </p:spPr>
        <p:txBody>
          <a:bodyPr wrap="square" lIns="121899" tIns="60949" rIns="121899" bIns="60949">
            <a:sp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QL result to JSON transformation</a:t>
            </a:r>
          </a:p>
        </p:txBody>
      </p:sp>
      <p:cxnSp>
        <p:nvCxnSpPr>
          <p:cNvPr id="23" name="Straight Arrow Connector 22"/>
          <p:cNvCxnSpPr>
            <a:endCxn id="27" idx="3"/>
          </p:cNvCxnSpPr>
          <p:nvPr/>
        </p:nvCxnSpPr>
        <p:spPr>
          <a:xfrm flipH="1">
            <a:off x="8151971" y="2024908"/>
            <a:ext cx="2514046" cy="4463"/>
          </a:xfrm>
          <a:prstGeom prst="straightConnector1">
            <a:avLst/>
          </a:prstGeom>
          <a:ln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Rectangle 38"/>
          <p:cNvSpPr/>
          <p:nvPr/>
        </p:nvSpPr>
        <p:spPr>
          <a:xfrm>
            <a:off x="9997038" y="1333373"/>
            <a:ext cx="2193377" cy="461643"/>
          </a:xfrm>
          <a:prstGeom prst="rect">
            <a:avLst/>
          </a:prstGeom>
        </p:spPr>
        <p:txBody>
          <a:bodyPr wrap="square" lIns="121899" tIns="60949" rIns="121899" bIns="60949">
            <a:sp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RI Request or HTTP(s) post mapped to SQL request</a:t>
            </a:r>
          </a:p>
        </p:txBody>
      </p:sp>
      <p:sp>
        <p:nvSpPr>
          <p:cNvPr id="41" name="Rectangle 40"/>
          <p:cNvSpPr/>
          <p:nvPr/>
        </p:nvSpPr>
        <p:spPr>
          <a:xfrm>
            <a:off x="10625464" y="2002576"/>
            <a:ext cx="997256" cy="630920"/>
          </a:xfrm>
          <a:prstGeom prst="rect">
            <a:avLst/>
          </a:prstGeom>
        </p:spPr>
        <p:txBody>
          <a:bodyPr wrap="square" lIns="121899" tIns="60949" rIns="121899" bIns="60949">
            <a:sp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JDBC Connection Pool</a:t>
            </a:r>
          </a:p>
        </p:txBody>
      </p:sp>
      <p:cxnSp>
        <p:nvCxnSpPr>
          <p:cNvPr id="13" name="Straight Connector 12"/>
          <p:cNvCxnSpPr/>
          <p:nvPr/>
        </p:nvCxnSpPr>
        <p:spPr>
          <a:xfrm flipH="1">
            <a:off x="9307620" y="1541186"/>
            <a:ext cx="821122" cy="344732"/>
          </a:xfrm>
          <a:prstGeom prst="line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endCxn id="26" idx="0"/>
          </p:cNvCxnSpPr>
          <p:nvPr/>
        </p:nvCxnSpPr>
        <p:spPr>
          <a:xfrm flipH="1">
            <a:off x="8560468" y="3214584"/>
            <a:ext cx="483986" cy="541686"/>
          </a:xfrm>
          <a:prstGeom prst="line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Rectangle 43"/>
          <p:cNvSpPr/>
          <p:nvPr/>
        </p:nvSpPr>
        <p:spPr>
          <a:xfrm>
            <a:off x="9907976" y="5062034"/>
            <a:ext cx="1752553" cy="369310"/>
          </a:xfrm>
          <a:prstGeom prst="rect">
            <a:avLst/>
          </a:prstGeom>
        </p:spPr>
        <p:txBody>
          <a:bodyPr wrap="none" lIns="121899" tIns="60949" rIns="121899" bIns="60949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acle Database</a:t>
            </a:r>
          </a:p>
        </p:txBody>
      </p:sp>
      <p:sp>
        <p:nvSpPr>
          <p:cNvPr id="43" name="Pentagon 42"/>
          <p:cNvSpPr/>
          <p:nvPr/>
        </p:nvSpPr>
        <p:spPr>
          <a:xfrm>
            <a:off x="8962954" y="1841696"/>
            <a:ext cx="537277" cy="358549"/>
          </a:xfrm>
          <a:prstGeom prst="homePlate">
            <a:avLst>
              <a:gd name="adj" fmla="val 30429"/>
            </a:avLst>
          </a:prstGeom>
          <a:solidFill>
            <a:srgbClr val="77B9DB"/>
          </a:solidFill>
          <a:ln>
            <a:solidFill>
              <a:srgbClr val="77B9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 lang="en-US"/>
          </a:p>
        </p:txBody>
      </p:sp>
      <p:sp>
        <p:nvSpPr>
          <p:cNvPr id="45" name="Pentagon 44"/>
          <p:cNvSpPr/>
          <p:nvPr/>
        </p:nvSpPr>
        <p:spPr>
          <a:xfrm flipH="1">
            <a:off x="8720061" y="2937157"/>
            <a:ext cx="537277" cy="358549"/>
          </a:xfrm>
          <a:prstGeom prst="homePlate">
            <a:avLst>
              <a:gd name="adj" fmla="val 30429"/>
            </a:avLst>
          </a:prstGeom>
          <a:solidFill>
            <a:srgbClr val="77B9DB"/>
          </a:solidFill>
          <a:ln>
            <a:solidFill>
              <a:srgbClr val="77B9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2119369" y="1357697"/>
            <a:ext cx="621282" cy="369310"/>
          </a:xfrm>
          <a:prstGeom prst="rect">
            <a:avLst/>
          </a:prstGeom>
        </p:spPr>
        <p:txBody>
          <a:bodyPr wrap="none" lIns="121899" tIns="60949" rIns="121899" bIns="60949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RI </a:t>
            </a:r>
            <a:endParaRPr lang="en-US" sz="1600" dirty="0"/>
          </a:p>
        </p:txBody>
      </p:sp>
      <p:sp>
        <p:nvSpPr>
          <p:cNvPr id="38" name="Rectangle 37"/>
          <p:cNvSpPr/>
          <p:nvPr/>
        </p:nvSpPr>
        <p:spPr>
          <a:xfrm>
            <a:off x="5284490" y="1303595"/>
            <a:ext cx="730286" cy="292366"/>
          </a:xfrm>
          <a:prstGeom prst="rect">
            <a:avLst/>
          </a:prstGeom>
        </p:spPr>
        <p:txBody>
          <a:bodyPr wrap="none" lIns="121899" tIns="60949" rIns="121899" bIns="60949">
            <a:spAutoFit/>
          </a:bodyPr>
          <a:lstStyle/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Module</a:t>
            </a:r>
            <a:endParaRPr lang="en-US" sz="1100" dirty="0"/>
          </a:p>
        </p:txBody>
      </p:sp>
      <p:cxnSp>
        <p:nvCxnSpPr>
          <p:cNvPr id="47" name="Straight Connector 46"/>
          <p:cNvCxnSpPr/>
          <p:nvPr/>
        </p:nvCxnSpPr>
        <p:spPr>
          <a:xfrm flipV="1">
            <a:off x="5159157" y="1571600"/>
            <a:ext cx="468629" cy="353795"/>
          </a:xfrm>
          <a:prstGeom prst="line">
            <a:avLst/>
          </a:prstGeom>
          <a:ln w="3175" cmpd="sng">
            <a:solidFill>
              <a:schemeClr val="bg2">
                <a:lumMod val="50000"/>
              </a:schemeClr>
            </a:solidFill>
            <a:headEnd type="non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Rectangle 47"/>
          <p:cNvSpPr/>
          <p:nvPr/>
        </p:nvSpPr>
        <p:spPr>
          <a:xfrm>
            <a:off x="6865810" y="1214024"/>
            <a:ext cx="852114" cy="292366"/>
          </a:xfrm>
          <a:prstGeom prst="rect">
            <a:avLst/>
          </a:prstGeom>
        </p:spPr>
        <p:txBody>
          <a:bodyPr wrap="none" lIns="121899" tIns="60949" rIns="121899" bIns="60949">
            <a:spAutoFit/>
          </a:bodyPr>
          <a:lstStyle/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Template</a:t>
            </a:r>
            <a:endParaRPr lang="en-US" sz="1100" dirty="0"/>
          </a:p>
        </p:txBody>
      </p:sp>
      <p:cxnSp>
        <p:nvCxnSpPr>
          <p:cNvPr id="49" name="Straight Connector 48"/>
          <p:cNvCxnSpPr/>
          <p:nvPr/>
        </p:nvCxnSpPr>
        <p:spPr>
          <a:xfrm flipV="1">
            <a:off x="6398220" y="1458220"/>
            <a:ext cx="845264" cy="437839"/>
          </a:xfrm>
          <a:prstGeom prst="line">
            <a:avLst/>
          </a:prstGeom>
          <a:ln w="3175" cmpd="sng">
            <a:solidFill>
              <a:schemeClr val="bg2">
                <a:lumMod val="50000"/>
              </a:schemeClr>
            </a:solidFill>
            <a:headEnd type="non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 flipH="1" flipV="1">
            <a:off x="7281274" y="1450660"/>
            <a:ext cx="242185" cy="414981"/>
          </a:xfrm>
          <a:prstGeom prst="line">
            <a:avLst/>
          </a:prstGeom>
          <a:ln w="3175" cmpd="sng">
            <a:solidFill>
              <a:schemeClr val="bg2">
                <a:lumMod val="50000"/>
              </a:schemeClr>
            </a:solidFill>
            <a:headEnd type="non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Rectangle 50"/>
          <p:cNvSpPr/>
          <p:nvPr/>
        </p:nvSpPr>
        <p:spPr>
          <a:xfrm>
            <a:off x="3692048" y="1297539"/>
            <a:ext cx="1079740" cy="292366"/>
          </a:xfrm>
          <a:prstGeom prst="rect">
            <a:avLst/>
          </a:prstGeom>
        </p:spPr>
        <p:txBody>
          <a:bodyPr wrap="none" lIns="121899" tIns="60949" rIns="121899" bIns="60949">
            <a:spAutoFit/>
          </a:bodyPr>
          <a:lstStyle/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Context Root</a:t>
            </a:r>
            <a:endParaRPr lang="en-US" sz="1100" dirty="0"/>
          </a:p>
        </p:txBody>
      </p:sp>
      <p:cxnSp>
        <p:nvCxnSpPr>
          <p:cNvPr id="52" name="Straight Connector 51"/>
          <p:cNvCxnSpPr/>
          <p:nvPr/>
        </p:nvCxnSpPr>
        <p:spPr>
          <a:xfrm flipH="1" flipV="1">
            <a:off x="4242086" y="1602570"/>
            <a:ext cx="169225" cy="293489"/>
          </a:xfrm>
          <a:prstGeom prst="line">
            <a:avLst/>
          </a:prstGeom>
          <a:ln w="3175" cmpd="sng">
            <a:solidFill>
              <a:schemeClr val="bg2">
                <a:lumMod val="50000"/>
              </a:schemeClr>
            </a:solidFill>
            <a:headEnd type="non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6" name="Picture 4" descr="rest1.png">
            <a:extLst>
              <a:ext uri="{FF2B5EF4-FFF2-40B4-BE49-F238E27FC236}">
                <a16:creationId xmlns:a16="http://schemas.microsoft.com/office/drawing/2014/main" id="{5416DAAD-4DBB-EC42-BA80-71B18F65A27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7596" y="330463"/>
            <a:ext cx="966825" cy="967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816542"/>
      </p:ext>
    </p:extLst>
  </p:cSld>
  <p:clrMapOvr>
    <a:masterClrMapping/>
  </p:clrMapOvr>
  <p:transition spd="med">
    <p:wipe dir="r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139"/>
          <p:cNvSpPr/>
          <p:nvPr/>
        </p:nvSpPr>
        <p:spPr>
          <a:xfrm>
            <a:off x="5921988" y="1965108"/>
            <a:ext cx="5952070" cy="3825510"/>
          </a:xfrm>
          <a:prstGeom prst="roundRect">
            <a:avLst>
              <a:gd name="adj" fmla="val 12548"/>
            </a:avLst>
          </a:prstGeom>
          <a:solidFill>
            <a:schemeClr val="accent6">
              <a:lumMod val="40000"/>
              <a:lumOff val="6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914171" hangingPunct="0"/>
            <a:endParaRPr sz="1098" kern="0" dirty="0">
              <a:solidFill>
                <a:srgbClr val="5F5F5F"/>
              </a:solidFill>
              <a:latin typeface="Calibri"/>
              <a:sym typeface="Calibri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34848" y="406709"/>
            <a:ext cx="11122304" cy="888768"/>
          </a:xfrm>
        </p:spPr>
        <p:txBody>
          <a:bodyPr/>
          <a:lstStyle/>
          <a:p>
            <a:r>
              <a:rPr kumimoji="1" lang="en-US" dirty="0"/>
              <a:t>ORDS Typical Architectur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575569" y="2282834"/>
            <a:ext cx="6618099" cy="3958273"/>
          </a:xfrm>
        </p:spPr>
        <p:txBody>
          <a:bodyPr/>
          <a:lstStyle/>
          <a:p>
            <a:r>
              <a:rPr lang="en-US" dirty="0"/>
              <a:t>Standard webserver layout</a:t>
            </a:r>
          </a:p>
          <a:p>
            <a:r>
              <a:rPr lang="en-US" dirty="0"/>
              <a:t>Implements Java Servlet</a:t>
            </a:r>
          </a:p>
          <a:p>
            <a:r>
              <a:rPr lang="en-US" dirty="0"/>
              <a:t>Deploys to Tomcat or WLS</a:t>
            </a:r>
          </a:p>
          <a:p>
            <a:r>
              <a:rPr lang="en-US" dirty="0"/>
              <a:t>Also Supported:</a:t>
            </a:r>
            <a:br>
              <a:rPr lang="en-US" dirty="0"/>
            </a:br>
            <a:r>
              <a:rPr lang="en-US" dirty="0"/>
              <a:t>  Standalone mode (Jetty)</a:t>
            </a:r>
            <a:br>
              <a:rPr lang="en-US" dirty="0"/>
            </a:br>
            <a:endParaRPr lang="en-US" dirty="0"/>
          </a:p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flipH="1" flipV="1">
            <a:off x="-840065" y="-318014"/>
            <a:ext cx="45708" cy="45708"/>
          </a:xfrm>
        </p:spPr>
        <p:txBody>
          <a:bodyPr/>
          <a:lstStyle/>
          <a:p>
            <a:pPr defTabSz="914171" hangingPunct="0"/>
            <a:endParaRPr lang="en-US" kern="0" dirty="0">
              <a:solidFill>
                <a:srgbClr val="5F5F5F"/>
              </a:solidFill>
              <a:latin typeface="Calibri"/>
              <a:sym typeface="Calibri"/>
            </a:endParaRPr>
          </a:p>
        </p:txBody>
      </p:sp>
      <p:pic>
        <p:nvPicPr>
          <p:cNvPr id="12" name="Picture 11" descr="download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223" y="5411169"/>
            <a:ext cx="1218303" cy="1218303"/>
          </a:xfrm>
          <a:prstGeom prst="rect">
            <a:avLst/>
          </a:prstGeom>
        </p:spPr>
      </p:pic>
      <p:grpSp>
        <p:nvGrpSpPr>
          <p:cNvPr id="14" name="Group 218"/>
          <p:cNvGrpSpPr/>
          <p:nvPr/>
        </p:nvGrpSpPr>
        <p:grpSpPr>
          <a:xfrm>
            <a:off x="7044405" y="3877865"/>
            <a:ext cx="2231571" cy="1411655"/>
            <a:chOff x="0" y="0"/>
            <a:chExt cx="1168400" cy="1485901"/>
          </a:xfrm>
        </p:grpSpPr>
        <p:pic>
          <p:nvPicPr>
            <p:cNvPr id="15" name="image9.png"/>
            <p:cNvPicPr/>
            <p:nvPr/>
          </p:nvPicPr>
          <p:blipFill>
            <a:blip r:embed="rId3"/>
            <a:stretch>
              <a:fillRect/>
            </a:stretch>
          </p:blipFill>
          <p:spPr>
            <a:xfrm>
              <a:off x="0" y="0"/>
              <a:ext cx="1168400" cy="148590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6" name="Shape 216"/>
            <p:cNvSpPr/>
            <p:nvPr/>
          </p:nvSpPr>
          <p:spPr>
            <a:xfrm>
              <a:off x="103447" y="634188"/>
              <a:ext cx="961507" cy="24263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>
                <a:defRPr>
                  <a:solidFill>
                    <a:srgbClr val="46575E"/>
                  </a:solidFill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defTabSz="914171" hangingPunct="0">
                <a:defRPr>
                  <a:solidFill>
                    <a:srgbClr val="000000"/>
                  </a:solidFill>
                </a:defRPr>
              </a:pPr>
              <a:r>
                <a:rPr lang="en-US" sz="1498" kern="0" dirty="0">
                  <a:solidFill>
                    <a:srgbClr val="5F5F5F"/>
                  </a:solidFill>
                </a:rPr>
                <a:t>Tomcat, WLS</a:t>
              </a:r>
              <a:endParaRPr sz="1498" kern="0" dirty="0">
                <a:solidFill>
                  <a:srgbClr val="5F5F5F"/>
                </a:solidFill>
              </a:endParaRPr>
            </a:p>
          </p:txBody>
        </p:sp>
        <p:sp>
          <p:nvSpPr>
            <p:cNvPr id="17" name="Shape 217"/>
            <p:cNvSpPr/>
            <p:nvPr/>
          </p:nvSpPr>
          <p:spPr>
            <a:xfrm>
              <a:off x="103447" y="53406"/>
              <a:ext cx="961507" cy="1940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>
                <a:defRPr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defTabSz="914171" hangingPunct="0">
                <a:defRPr>
                  <a:solidFill>
                    <a:srgbClr val="000000"/>
                  </a:solidFill>
                </a:defRPr>
              </a:pPr>
              <a:r>
                <a:rPr sz="1198" kern="0" dirty="0">
                  <a:solidFill>
                    <a:srgbClr val="000000"/>
                  </a:solidFill>
                </a:rPr>
                <a:t>ORDS</a:t>
              </a:r>
            </a:p>
          </p:txBody>
        </p:sp>
      </p:grpSp>
      <p:sp>
        <p:nvSpPr>
          <p:cNvPr id="23" name="Shape 139"/>
          <p:cNvSpPr/>
          <p:nvPr/>
        </p:nvSpPr>
        <p:spPr>
          <a:xfrm>
            <a:off x="7353983" y="2457216"/>
            <a:ext cx="1421348" cy="977452"/>
          </a:xfrm>
          <a:prstGeom prst="roundRect">
            <a:avLst>
              <a:gd name="adj" fmla="val 12548"/>
            </a:avLst>
          </a:prstGeom>
          <a:solidFill>
            <a:srgbClr val="C4D2D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914171" hangingPunct="0"/>
            <a:r>
              <a:rPr lang="en-US" sz="1498" kern="0" dirty="0">
                <a:solidFill>
                  <a:srgbClr val="5F5F5F"/>
                </a:solidFill>
                <a:latin typeface="Calibri"/>
                <a:sym typeface="Calibri"/>
              </a:rPr>
              <a:t>Apache</a:t>
            </a:r>
          </a:p>
        </p:txBody>
      </p:sp>
      <p:pic>
        <p:nvPicPr>
          <p:cNvPr id="25" name="Picture 24" descr="PastedGraphic-60.pdf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0092" y="800716"/>
            <a:ext cx="1213003" cy="909754"/>
          </a:xfrm>
          <a:prstGeom prst="rect">
            <a:avLst/>
          </a:prstGeom>
        </p:spPr>
      </p:pic>
      <p:pic>
        <p:nvPicPr>
          <p:cNvPr id="2" name="Picture 1" descr="doc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39" y="2368834"/>
            <a:ext cx="879479" cy="108243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9299679" y="2739390"/>
            <a:ext cx="1865605" cy="108416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171" hangingPunct="0"/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Static Files</a:t>
            </a:r>
          </a:p>
          <a:p>
            <a:pPr defTabSz="914171" hangingPunct="0"/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-HTML, CSS, JS</a:t>
            </a:r>
          </a:p>
          <a:p>
            <a:pPr defTabSz="914171" hangingPunct="0">
              <a:lnSpc>
                <a:spcPct val="90000"/>
              </a:lnSpc>
            </a:pPr>
            <a:endParaRPr lang="en-US" sz="1398" kern="0" dirty="0">
              <a:solidFill>
                <a:srgbClr val="8DA6B1"/>
              </a:solidFill>
              <a:latin typeface="Calibri"/>
              <a:sym typeface="Calibri"/>
            </a:endParaRPr>
          </a:p>
        </p:txBody>
      </p:sp>
      <p:sp>
        <p:nvSpPr>
          <p:cNvPr id="28" name="Shape 143"/>
          <p:cNvSpPr/>
          <p:nvPr/>
        </p:nvSpPr>
        <p:spPr>
          <a:xfrm flipV="1">
            <a:off x="8084896" y="3159974"/>
            <a:ext cx="0" cy="1081477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0" tIns="0" rIns="0" bIns="0"/>
          <a:lstStyle/>
          <a:p>
            <a:pPr defTabSz="456620" hangingPunct="0">
              <a:defRPr sz="1200">
                <a:solidFill>
                  <a:srgbClr val="000000"/>
                </a:solidFill>
                <a:latin typeface="+mj-lt"/>
                <a:ea typeface="+mj-ea"/>
                <a:cs typeface="+mj-cs"/>
                <a:sym typeface="Helvetica"/>
              </a:defRPr>
            </a:pPr>
            <a:endParaRPr sz="1498" kern="0">
              <a:solidFill>
                <a:srgbClr val="000000"/>
              </a:solidFill>
              <a:latin typeface="Calibri"/>
              <a:sym typeface="Helvetica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760041" y="3044607"/>
            <a:ext cx="1772362" cy="71856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171" hangingPunct="0"/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                /</a:t>
            </a:r>
            <a:r>
              <a:rPr lang="en-US" sz="1398" kern="0" dirty="0" err="1">
                <a:solidFill>
                  <a:srgbClr val="8DA6B1"/>
                </a:solidFill>
                <a:latin typeface="Calibri"/>
                <a:sym typeface="Calibri"/>
              </a:rPr>
              <a:t>ords</a:t>
            </a:r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/…</a:t>
            </a:r>
          </a:p>
          <a:p>
            <a:pPr defTabSz="914171" hangingPunct="0"/>
            <a:endParaRPr lang="en-US" sz="1398" kern="0" dirty="0">
              <a:solidFill>
                <a:srgbClr val="8DA6B1"/>
              </a:solidFill>
              <a:latin typeface="Calibri"/>
              <a:sym typeface="Calibri"/>
            </a:endParaRPr>
          </a:p>
          <a:p>
            <a:pPr defTabSz="914171" hangingPunct="0"/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/db1/</a:t>
            </a:r>
            <a:r>
              <a:rPr lang="en-US" sz="1398" kern="0" dirty="0" err="1">
                <a:solidFill>
                  <a:srgbClr val="8DA6B1"/>
                </a:solidFill>
                <a:latin typeface="Calibri"/>
                <a:sym typeface="Calibri"/>
              </a:rPr>
              <a:t>hr</a:t>
            </a:r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/emp/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8325636" y="3156418"/>
            <a:ext cx="1249517" cy="96199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171" hangingPunct="0"/>
            <a:r>
              <a:rPr lang="en-US" sz="1198" kern="0" dirty="0">
                <a:solidFill>
                  <a:srgbClr val="8DA6B1"/>
                </a:solidFill>
                <a:latin typeface="Calibri"/>
                <a:sym typeface="Calibri"/>
              </a:rPr>
              <a:t>JSON</a:t>
            </a:r>
          </a:p>
          <a:p>
            <a:pPr defTabSz="914171" hangingPunct="0"/>
            <a:r>
              <a:rPr lang="en-US" sz="1198" kern="0" dirty="0">
                <a:solidFill>
                  <a:srgbClr val="8DA6B1"/>
                </a:solidFill>
                <a:latin typeface="Calibri"/>
                <a:sym typeface="Calibri"/>
              </a:rPr>
              <a:t>Binary</a:t>
            </a:r>
          </a:p>
          <a:p>
            <a:pPr defTabSz="914171" hangingPunct="0"/>
            <a:r>
              <a:rPr lang="en-US" sz="1198" kern="0" dirty="0">
                <a:solidFill>
                  <a:srgbClr val="8DA6B1"/>
                </a:solidFill>
                <a:latin typeface="Calibri"/>
                <a:sym typeface="Calibri"/>
              </a:rPr>
              <a:t>HTML</a:t>
            </a:r>
          </a:p>
          <a:p>
            <a:pPr defTabSz="914171" hangingPunct="0"/>
            <a:r>
              <a:rPr lang="is-IS" sz="1198" kern="0" dirty="0">
                <a:solidFill>
                  <a:srgbClr val="8DA6B1"/>
                </a:solidFill>
                <a:latin typeface="Calibri"/>
                <a:sym typeface="Calibri"/>
              </a:rPr>
              <a:t>…</a:t>
            </a:r>
            <a:endParaRPr lang="en-US" sz="1198" kern="0" dirty="0">
              <a:solidFill>
                <a:srgbClr val="8DA6B1"/>
              </a:solidFill>
              <a:latin typeface="Calibri"/>
              <a:sym typeface="Calibri"/>
            </a:endParaRPr>
          </a:p>
        </p:txBody>
      </p:sp>
      <p:cxnSp>
        <p:nvCxnSpPr>
          <p:cNvPr id="6" name="Straight Arrow Connector 5"/>
          <p:cNvCxnSpPr/>
          <p:nvPr/>
        </p:nvCxnSpPr>
        <p:spPr>
          <a:xfrm>
            <a:off x="7933087" y="3370690"/>
            <a:ext cx="0" cy="470496"/>
          </a:xfrm>
          <a:prstGeom prst="straightConnector1">
            <a:avLst/>
          </a:prstGeom>
          <a:ln w="1270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cxnSpLocks/>
          </p:cNvCxnSpPr>
          <p:nvPr/>
        </p:nvCxnSpPr>
        <p:spPr>
          <a:xfrm flipV="1">
            <a:off x="8217213" y="3370690"/>
            <a:ext cx="4833" cy="432870"/>
          </a:xfrm>
          <a:prstGeom prst="straightConnector1">
            <a:avLst/>
          </a:prstGeom>
          <a:ln w="1270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hape 143"/>
          <p:cNvSpPr/>
          <p:nvPr/>
        </p:nvSpPr>
        <p:spPr>
          <a:xfrm flipV="1">
            <a:off x="8342561" y="5063625"/>
            <a:ext cx="0" cy="627193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0" tIns="0" rIns="0" bIns="0"/>
          <a:lstStyle/>
          <a:p>
            <a:pPr defTabSz="456620" hangingPunct="0">
              <a:defRPr sz="1200">
                <a:solidFill>
                  <a:srgbClr val="000000"/>
                </a:solidFill>
                <a:latin typeface="+mj-lt"/>
                <a:ea typeface="+mj-ea"/>
                <a:cs typeface="+mj-cs"/>
                <a:sym typeface="Helvetica"/>
              </a:defRPr>
            </a:pPr>
            <a:endParaRPr sz="1498" kern="0">
              <a:solidFill>
                <a:srgbClr val="000000"/>
              </a:solidFill>
              <a:latin typeface="Calibri"/>
              <a:sym typeface="Helvetica"/>
            </a:endParaRPr>
          </a:p>
        </p:txBody>
      </p:sp>
      <p:cxnSp>
        <p:nvCxnSpPr>
          <p:cNvPr id="33" name="Straight Arrow Connector 32"/>
          <p:cNvCxnSpPr>
            <a:cxnSpLocks/>
          </p:cNvCxnSpPr>
          <p:nvPr/>
        </p:nvCxnSpPr>
        <p:spPr>
          <a:xfrm flipH="1">
            <a:off x="6758444" y="5018831"/>
            <a:ext cx="219603" cy="395908"/>
          </a:xfrm>
          <a:prstGeom prst="straightConnector1">
            <a:avLst/>
          </a:prstGeom>
          <a:ln w="1270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cxnSpLocks/>
          </p:cNvCxnSpPr>
          <p:nvPr/>
        </p:nvCxnSpPr>
        <p:spPr>
          <a:xfrm flipV="1">
            <a:off x="7105628" y="5109947"/>
            <a:ext cx="174212" cy="357666"/>
          </a:xfrm>
          <a:prstGeom prst="straightConnector1">
            <a:avLst/>
          </a:prstGeom>
          <a:ln w="1270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6858436" y="1704782"/>
            <a:ext cx="887641" cy="50283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171" hangingPunct="0"/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HTTP(s)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088584" y="2105860"/>
            <a:ext cx="887641" cy="50283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171" hangingPunct="0"/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Results</a:t>
            </a:r>
          </a:p>
        </p:txBody>
      </p:sp>
      <p:cxnSp>
        <p:nvCxnSpPr>
          <p:cNvPr id="37" name="Straight Arrow Connector 36"/>
          <p:cNvCxnSpPr/>
          <p:nvPr/>
        </p:nvCxnSpPr>
        <p:spPr>
          <a:xfrm>
            <a:off x="8605233" y="2953387"/>
            <a:ext cx="445551" cy="1"/>
          </a:xfrm>
          <a:prstGeom prst="straightConnector1">
            <a:avLst/>
          </a:prstGeom>
          <a:ln w="1270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7076118" y="4819136"/>
            <a:ext cx="2223561" cy="50283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171" hangingPunct="0"/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JDBC</a:t>
            </a:r>
            <a:b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</a:br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       pool1   pool2          pool3</a:t>
            </a:r>
          </a:p>
        </p:txBody>
      </p:sp>
      <p:sp>
        <p:nvSpPr>
          <p:cNvPr id="43" name="Shape 143"/>
          <p:cNvSpPr/>
          <p:nvPr/>
        </p:nvSpPr>
        <p:spPr>
          <a:xfrm flipV="1">
            <a:off x="7998012" y="1469213"/>
            <a:ext cx="0" cy="1128877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0" tIns="0" rIns="0" bIns="0"/>
          <a:lstStyle/>
          <a:p>
            <a:pPr defTabSz="456620" hangingPunct="0">
              <a:defRPr sz="1200">
                <a:solidFill>
                  <a:srgbClr val="000000"/>
                </a:solidFill>
                <a:latin typeface="+mj-lt"/>
                <a:ea typeface="+mj-ea"/>
                <a:cs typeface="+mj-cs"/>
                <a:sym typeface="Helvetica"/>
              </a:defRPr>
            </a:pPr>
            <a:endParaRPr sz="1498" kern="0">
              <a:solidFill>
                <a:srgbClr val="000000"/>
              </a:solidFill>
              <a:latin typeface="Calibri"/>
              <a:sym typeface="Helvetica"/>
            </a:endParaRPr>
          </a:p>
        </p:txBody>
      </p:sp>
      <p:cxnSp>
        <p:nvCxnSpPr>
          <p:cNvPr id="44" name="Straight Arrow Connector 43"/>
          <p:cNvCxnSpPr>
            <a:cxnSpLocks/>
          </p:cNvCxnSpPr>
          <p:nvPr/>
        </p:nvCxnSpPr>
        <p:spPr>
          <a:xfrm>
            <a:off x="7859821" y="2033652"/>
            <a:ext cx="0" cy="377871"/>
          </a:xfrm>
          <a:prstGeom prst="straightConnector1">
            <a:avLst/>
          </a:prstGeom>
          <a:ln w="1270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>
            <a:cxnSpLocks/>
          </p:cNvCxnSpPr>
          <p:nvPr/>
        </p:nvCxnSpPr>
        <p:spPr>
          <a:xfrm flipV="1">
            <a:off x="8243745" y="1636305"/>
            <a:ext cx="0" cy="448074"/>
          </a:xfrm>
          <a:prstGeom prst="straightConnector1">
            <a:avLst/>
          </a:prstGeom>
          <a:ln w="1270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F9F091BD-1EC2-4C29-80A3-B58031D0499A}"/>
              </a:ext>
            </a:extLst>
          </p:cNvPr>
          <p:cNvSpPr txBox="1"/>
          <p:nvPr/>
        </p:nvSpPr>
        <p:spPr>
          <a:xfrm>
            <a:off x="7494643" y="1717338"/>
            <a:ext cx="887641" cy="50283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171" hangingPunct="0"/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Request</a:t>
            </a:r>
          </a:p>
        </p:txBody>
      </p:sp>
      <p:pic>
        <p:nvPicPr>
          <p:cNvPr id="41" name="Picture 40" descr="download.png">
            <a:extLst>
              <a:ext uri="{FF2B5EF4-FFF2-40B4-BE49-F238E27FC236}">
                <a16:creationId xmlns:a16="http://schemas.microsoft.com/office/drawing/2014/main" id="{F6463184-6A87-4AFD-A273-830FDB433A7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4316" y="5427720"/>
            <a:ext cx="1218303" cy="1218303"/>
          </a:xfrm>
          <a:prstGeom prst="rect">
            <a:avLst/>
          </a:prstGeom>
        </p:spPr>
      </p:pic>
      <p:pic>
        <p:nvPicPr>
          <p:cNvPr id="46" name="Picture 45" descr="download.png">
            <a:extLst>
              <a:ext uri="{FF2B5EF4-FFF2-40B4-BE49-F238E27FC236}">
                <a16:creationId xmlns:a16="http://schemas.microsoft.com/office/drawing/2014/main" id="{2B7F9F47-678F-4A51-B8A2-5A869718F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0130" y="5450179"/>
            <a:ext cx="1218303" cy="1218303"/>
          </a:xfrm>
          <a:prstGeom prst="rect">
            <a:avLst/>
          </a:prstGeom>
        </p:spPr>
      </p:pic>
      <p:sp>
        <p:nvSpPr>
          <p:cNvPr id="48" name="Shape 143">
            <a:extLst>
              <a:ext uri="{FF2B5EF4-FFF2-40B4-BE49-F238E27FC236}">
                <a16:creationId xmlns:a16="http://schemas.microsoft.com/office/drawing/2014/main" id="{CEACF629-E575-4347-97A7-06E4526073B8}"/>
              </a:ext>
            </a:extLst>
          </p:cNvPr>
          <p:cNvSpPr/>
          <p:nvPr/>
        </p:nvSpPr>
        <p:spPr>
          <a:xfrm flipH="1" flipV="1">
            <a:off x="9180276" y="5053502"/>
            <a:ext cx="610933" cy="627193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0" tIns="0" rIns="0" bIns="0"/>
          <a:lstStyle/>
          <a:p>
            <a:pPr defTabSz="456620" hangingPunct="0">
              <a:defRPr sz="1200">
                <a:solidFill>
                  <a:srgbClr val="000000"/>
                </a:solidFill>
                <a:latin typeface="+mj-lt"/>
                <a:ea typeface="+mj-ea"/>
                <a:cs typeface="+mj-cs"/>
                <a:sym typeface="Helvetica"/>
              </a:defRPr>
            </a:pPr>
            <a:endParaRPr sz="1498" kern="0">
              <a:solidFill>
                <a:srgbClr val="000000"/>
              </a:solidFill>
              <a:latin typeface="Calibri"/>
              <a:sym typeface="Helvetica"/>
            </a:endParaRPr>
          </a:p>
        </p:txBody>
      </p:sp>
      <p:sp>
        <p:nvSpPr>
          <p:cNvPr id="49" name="Shape 143">
            <a:extLst>
              <a:ext uri="{FF2B5EF4-FFF2-40B4-BE49-F238E27FC236}">
                <a16:creationId xmlns:a16="http://schemas.microsoft.com/office/drawing/2014/main" id="{6405F8FE-E514-4AB9-8E38-3312633788BC}"/>
              </a:ext>
            </a:extLst>
          </p:cNvPr>
          <p:cNvSpPr/>
          <p:nvPr/>
        </p:nvSpPr>
        <p:spPr>
          <a:xfrm flipV="1">
            <a:off x="6869050" y="5056886"/>
            <a:ext cx="255528" cy="536143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0" tIns="0" rIns="0" bIns="0"/>
          <a:lstStyle/>
          <a:p>
            <a:pPr defTabSz="456620" hangingPunct="0">
              <a:defRPr sz="1200">
                <a:solidFill>
                  <a:srgbClr val="000000"/>
                </a:solidFill>
                <a:latin typeface="+mj-lt"/>
                <a:ea typeface="+mj-ea"/>
                <a:cs typeface="+mj-cs"/>
                <a:sym typeface="Helvetica"/>
              </a:defRPr>
            </a:pPr>
            <a:endParaRPr sz="1498" kern="0">
              <a:solidFill>
                <a:srgbClr val="000000"/>
              </a:solidFill>
              <a:latin typeface="Calibri"/>
              <a:sym typeface="Helvetica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DAC80E7-E282-4C99-BC6A-6C915549684C}"/>
              </a:ext>
            </a:extLst>
          </p:cNvPr>
          <p:cNvSpPr txBox="1"/>
          <p:nvPr/>
        </p:nvSpPr>
        <p:spPr>
          <a:xfrm>
            <a:off x="8095756" y="4819136"/>
            <a:ext cx="1249517" cy="50283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171" hangingPunct="0"/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JDBC 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8B557BF-62A7-4F92-A263-9B8E09711CBF}"/>
              </a:ext>
            </a:extLst>
          </p:cNvPr>
          <p:cNvSpPr txBox="1"/>
          <p:nvPr/>
        </p:nvSpPr>
        <p:spPr>
          <a:xfrm>
            <a:off x="8898024" y="4792085"/>
            <a:ext cx="1249517" cy="50283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171" hangingPunct="0"/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JDBC </a:t>
            </a:r>
          </a:p>
        </p:txBody>
      </p:sp>
      <p:pic>
        <p:nvPicPr>
          <p:cNvPr id="38" name="Picture 4" descr="rest1.png">
            <a:extLst>
              <a:ext uri="{FF2B5EF4-FFF2-40B4-BE49-F238E27FC236}">
                <a16:creationId xmlns:a16="http://schemas.microsoft.com/office/drawing/2014/main" id="{2BCC19AD-0E94-0A40-B21F-1164B95037F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7596" y="330463"/>
            <a:ext cx="966825" cy="967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722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139">
            <a:extLst>
              <a:ext uri="{FF2B5EF4-FFF2-40B4-BE49-F238E27FC236}">
                <a16:creationId xmlns:a16="http://schemas.microsoft.com/office/drawing/2014/main" id="{15D86BC1-6AD7-47EF-AE28-46ED904B7D06}"/>
              </a:ext>
            </a:extLst>
          </p:cNvPr>
          <p:cNvSpPr/>
          <p:nvPr/>
        </p:nvSpPr>
        <p:spPr>
          <a:xfrm>
            <a:off x="7131832" y="2286384"/>
            <a:ext cx="4225553" cy="2319992"/>
          </a:xfrm>
          <a:prstGeom prst="roundRect">
            <a:avLst>
              <a:gd name="adj" fmla="val 12548"/>
            </a:avLst>
          </a:prstGeom>
          <a:solidFill>
            <a:schemeClr val="accent6">
              <a:lumMod val="40000"/>
              <a:lumOff val="6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914171" hangingPunct="0"/>
            <a:endParaRPr sz="1098" kern="0" dirty="0">
              <a:solidFill>
                <a:srgbClr val="5F5F5F"/>
              </a:solidFill>
              <a:latin typeface="Calibri"/>
              <a:sym typeface="Calibri"/>
            </a:endParaRPr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D546D4BB-211D-4983-8204-BE8FF9EA8C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848" y="406709"/>
            <a:ext cx="11122304" cy="888768"/>
          </a:xfrm>
        </p:spPr>
        <p:txBody>
          <a:bodyPr/>
          <a:lstStyle/>
          <a:p>
            <a:r>
              <a:rPr kumimoji="1" lang="en-US" dirty="0"/>
              <a:t>ORDS Standalone Deployments</a:t>
            </a: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76D69768-927F-42A5-A84A-3C35303C2087}"/>
              </a:ext>
            </a:extLst>
          </p:cNvPr>
          <p:cNvSpPr txBox="1">
            <a:spLocks/>
          </p:cNvSpPr>
          <p:nvPr/>
        </p:nvSpPr>
        <p:spPr>
          <a:xfrm>
            <a:off x="575569" y="2282834"/>
            <a:ext cx="6618099" cy="39582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>
            <a:lvl1pPr marL="171450" marR="0" indent="-171450" algn="l" defTabSz="685800" rtl="0" latinLnBrk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F9F9F"/>
              </a:buClr>
              <a:buSzPct val="100000"/>
              <a:buFont typeface="Arial"/>
              <a:buChar char="•"/>
              <a:tabLst/>
              <a:defRPr sz="2100" b="0" i="0" u="none" strike="noStrike" cap="none" spc="0" baseline="0">
                <a:ln>
                  <a:noFill/>
                </a:ln>
                <a:solidFill>
                  <a:srgbClr val="5F5F5F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405764" marR="0" indent="-200025" algn="l" defTabSz="685800" rtl="0" latinLnBrk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F9F9F"/>
              </a:buClr>
              <a:buSzPct val="100000"/>
              <a:buFont typeface="Arial"/>
              <a:buChar char="–"/>
              <a:tabLst/>
              <a:defRPr sz="2100" b="0" i="0" u="none" strike="noStrike" cap="none" spc="0" baseline="0">
                <a:ln>
                  <a:noFill/>
                </a:ln>
                <a:solidFill>
                  <a:srgbClr val="5F5F5F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603504" marR="0" indent="-192024" algn="l" defTabSz="685800" rtl="0" latinLnBrk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F9F9F"/>
              </a:buClr>
              <a:buSzPct val="100000"/>
              <a:buFont typeface="Arial"/>
              <a:buChar char="•"/>
              <a:tabLst/>
              <a:defRPr sz="2100" b="0" i="0" u="none" strike="noStrike" cap="none" spc="0" baseline="0">
                <a:ln>
                  <a:noFill/>
                </a:ln>
                <a:solidFill>
                  <a:srgbClr val="5F5F5F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796289" marR="0" indent="-213360" algn="l" defTabSz="685800" rtl="0" latinLnBrk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F9F9F"/>
              </a:buClr>
              <a:buSzPct val="100000"/>
              <a:buFont typeface="Arial"/>
              <a:buChar char="–"/>
              <a:tabLst/>
              <a:defRPr sz="2100" b="0" i="0" u="none" strike="noStrike" cap="none" spc="0" baseline="0">
                <a:ln>
                  <a:noFill/>
                </a:ln>
                <a:solidFill>
                  <a:srgbClr val="5F5F5F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994410" marR="0" indent="-240030" algn="l" defTabSz="685800" rtl="0" latinLnBrk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F9F9F"/>
              </a:buClr>
              <a:buSzPct val="100000"/>
              <a:buFont typeface="Arial"/>
              <a:buChar char="•"/>
              <a:tabLst/>
              <a:defRPr sz="2100" b="0" i="0" u="none" strike="noStrike" cap="none" spc="0" baseline="0">
                <a:ln>
                  <a:noFill/>
                </a:ln>
                <a:solidFill>
                  <a:srgbClr val="5F5F5F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1165860" marR="0" indent="-240030" algn="l" defTabSz="685800" rtl="0" latinLnBrk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F9F9F"/>
              </a:buClr>
              <a:buSzPct val="100000"/>
              <a:buFont typeface="Arial"/>
              <a:buChar char="–"/>
              <a:tabLst/>
              <a:defRPr sz="2100" b="0" i="0" u="none" strike="noStrike" cap="none" spc="0" baseline="0">
                <a:ln>
                  <a:noFill/>
                </a:ln>
                <a:solidFill>
                  <a:srgbClr val="5F5F5F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1337310" marR="0" indent="-240030" algn="l" defTabSz="685800" rtl="0" latinLnBrk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F9F9F"/>
              </a:buClr>
              <a:buSzPct val="100000"/>
              <a:buFont typeface="Arial"/>
              <a:buChar char="•"/>
              <a:tabLst/>
              <a:defRPr sz="2100" b="0" i="0" u="none" strike="noStrike" cap="none" spc="0" baseline="0">
                <a:ln>
                  <a:noFill/>
                </a:ln>
                <a:solidFill>
                  <a:srgbClr val="5F5F5F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1508759" marR="0" indent="-240029" algn="l" defTabSz="685800" rtl="0" latinLnBrk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F9F9F"/>
              </a:buClr>
              <a:buSzPct val="100000"/>
              <a:buFont typeface="Arial"/>
              <a:buChar char="–"/>
              <a:tabLst/>
              <a:defRPr sz="2100" b="0" i="0" u="none" strike="noStrike" cap="none" spc="0" baseline="0">
                <a:ln>
                  <a:noFill/>
                </a:ln>
                <a:solidFill>
                  <a:srgbClr val="5F5F5F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1680209" marR="0" indent="-240029" algn="l" defTabSz="685800" rtl="0" latinLnBrk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F9F9F"/>
              </a:buClr>
              <a:buSzPct val="100000"/>
              <a:buFont typeface="Arial"/>
              <a:buChar char="•"/>
              <a:tabLst/>
              <a:defRPr sz="2100" b="0" i="0" u="none" strike="noStrike" cap="none" spc="0" baseline="0">
                <a:ln>
                  <a:noFill/>
                </a:ln>
                <a:solidFill>
                  <a:srgbClr val="5F5F5F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r>
              <a:rPr lang="en-US" sz="2799" kern="0" dirty="0"/>
              <a:t>ORDS running as a OS process</a:t>
            </a:r>
          </a:p>
          <a:p>
            <a:r>
              <a:rPr lang="en-US" sz="2799" kern="0" dirty="0"/>
              <a:t>Eclipse Jetty Webserver</a:t>
            </a:r>
            <a:br>
              <a:rPr lang="en-US" sz="2799" kern="0" dirty="0"/>
            </a:br>
            <a:r>
              <a:rPr lang="en-US" sz="2799" kern="0" dirty="0"/>
              <a:t> &amp; Servlet Container</a:t>
            </a:r>
          </a:p>
          <a:p>
            <a:r>
              <a:rPr lang="en-US" sz="2799" kern="0" dirty="0"/>
              <a:t>Supported for Production</a:t>
            </a:r>
          </a:p>
          <a:p>
            <a:r>
              <a:rPr lang="en-US" sz="2799" kern="0" dirty="0"/>
              <a:t>Offers much fewer control,</a:t>
            </a:r>
            <a:br>
              <a:rPr lang="en-US" sz="2799" kern="0" dirty="0"/>
            </a:br>
            <a:r>
              <a:rPr lang="en-US" sz="2799" kern="0" dirty="0"/>
              <a:t>configuration, and management</a:t>
            </a:r>
            <a:br>
              <a:rPr lang="en-US" sz="2799" kern="0" dirty="0"/>
            </a:br>
            <a:r>
              <a:rPr lang="en-US" sz="2799" kern="0" dirty="0"/>
              <a:t>features</a:t>
            </a:r>
            <a:br>
              <a:rPr lang="en-US" sz="2799" kern="0" dirty="0"/>
            </a:br>
            <a:endParaRPr lang="en-US" sz="2799" kern="0" dirty="0"/>
          </a:p>
          <a:p>
            <a:endParaRPr lang="en-US" sz="2799" kern="0" dirty="0"/>
          </a:p>
        </p:txBody>
      </p:sp>
      <p:pic>
        <p:nvPicPr>
          <p:cNvPr id="8" name="Picture 7" descr="download.png">
            <a:extLst>
              <a:ext uri="{FF2B5EF4-FFF2-40B4-BE49-F238E27FC236}">
                <a16:creationId xmlns:a16="http://schemas.microsoft.com/office/drawing/2014/main" id="{B820C680-7A9F-41A8-BDE3-4AF482E6CC0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8271" y="5352935"/>
            <a:ext cx="1218303" cy="1218303"/>
          </a:xfrm>
          <a:prstGeom prst="rect">
            <a:avLst/>
          </a:prstGeom>
        </p:spPr>
      </p:pic>
      <p:sp>
        <p:nvSpPr>
          <p:cNvPr id="13" name="Shape 139">
            <a:extLst>
              <a:ext uri="{FF2B5EF4-FFF2-40B4-BE49-F238E27FC236}">
                <a16:creationId xmlns:a16="http://schemas.microsoft.com/office/drawing/2014/main" id="{5B9F5298-673A-4CBD-B5D1-DD53A55AABF0}"/>
              </a:ext>
            </a:extLst>
          </p:cNvPr>
          <p:cNvSpPr/>
          <p:nvPr/>
        </p:nvSpPr>
        <p:spPr>
          <a:xfrm>
            <a:off x="8256031" y="2778489"/>
            <a:ext cx="1484911" cy="1118822"/>
          </a:xfrm>
          <a:prstGeom prst="roundRect">
            <a:avLst>
              <a:gd name="adj" fmla="val 12548"/>
            </a:avLst>
          </a:prstGeom>
          <a:solidFill>
            <a:srgbClr val="C4D2D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914171" hangingPunct="0"/>
            <a:r>
              <a:rPr lang="en-US" sz="1498" kern="0" dirty="0">
                <a:solidFill>
                  <a:srgbClr val="5F5F5F"/>
                </a:solidFill>
                <a:latin typeface="Calibri"/>
                <a:sym typeface="Calibri"/>
              </a:rPr>
              <a:t>ORDS w/Embedded Jetty</a:t>
            </a:r>
          </a:p>
        </p:txBody>
      </p:sp>
      <p:pic>
        <p:nvPicPr>
          <p:cNvPr id="14" name="Picture 13" descr="PastedGraphic-60.pdf">
            <a:extLst>
              <a:ext uri="{FF2B5EF4-FFF2-40B4-BE49-F238E27FC236}">
                <a16:creationId xmlns:a16="http://schemas.microsoft.com/office/drawing/2014/main" id="{D6087913-356D-456F-BAB2-4718417979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2139" y="1121990"/>
            <a:ext cx="1213003" cy="909754"/>
          </a:xfrm>
          <a:prstGeom prst="rect">
            <a:avLst/>
          </a:prstGeom>
        </p:spPr>
      </p:pic>
      <p:pic>
        <p:nvPicPr>
          <p:cNvPr id="15" name="Picture 14" descr="doc.png">
            <a:extLst>
              <a:ext uri="{FF2B5EF4-FFF2-40B4-BE49-F238E27FC236}">
                <a16:creationId xmlns:a16="http://schemas.microsoft.com/office/drawing/2014/main" id="{5EC916A6-CD94-4C8C-8DBB-507D2A26F3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3786" y="2690108"/>
            <a:ext cx="879479" cy="108243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1DA42EF-8C82-4F9C-B818-8A666DB6DA90}"/>
              </a:ext>
            </a:extLst>
          </p:cNvPr>
          <p:cNvSpPr txBox="1"/>
          <p:nvPr/>
        </p:nvSpPr>
        <p:spPr>
          <a:xfrm>
            <a:off x="9262608" y="2343969"/>
            <a:ext cx="1865605" cy="108416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171" hangingPunct="0"/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Static Files</a:t>
            </a:r>
          </a:p>
          <a:p>
            <a:pPr defTabSz="914171" hangingPunct="0"/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-HTML, CSS, JS</a:t>
            </a:r>
          </a:p>
          <a:p>
            <a:pPr defTabSz="914171" hangingPunct="0">
              <a:lnSpc>
                <a:spcPct val="90000"/>
              </a:lnSpc>
            </a:pPr>
            <a:endParaRPr lang="en-US" sz="1398" kern="0" dirty="0">
              <a:solidFill>
                <a:srgbClr val="8DA6B1"/>
              </a:solidFill>
              <a:latin typeface="Calibri"/>
              <a:sym typeface="Calibri"/>
            </a:endParaRPr>
          </a:p>
        </p:txBody>
      </p:sp>
      <p:sp>
        <p:nvSpPr>
          <p:cNvPr id="17" name="Shape 143">
            <a:extLst>
              <a:ext uri="{FF2B5EF4-FFF2-40B4-BE49-F238E27FC236}">
                <a16:creationId xmlns:a16="http://schemas.microsoft.com/office/drawing/2014/main" id="{BB1B69C7-CF20-41C3-9C13-CAD54D296554}"/>
              </a:ext>
            </a:extLst>
          </p:cNvPr>
          <p:cNvSpPr/>
          <p:nvPr/>
        </p:nvSpPr>
        <p:spPr>
          <a:xfrm flipV="1">
            <a:off x="8986943" y="3481248"/>
            <a:ext cx="0" cy="1081477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0" tIns="0" rIns="0" bIns="0"/>
          <a:lstStyle/>
          <a:p>
            <a:pPr defTabSz="456620" hangingPunct="0">
              <a:defRPr sz="1200">
                <a:solidFill>
                  <a:srgbClr val="000000"/>
                </a:solidFill>
                <a:latin typeface="+mj-lt"/>
                <a:ea typeface="+mj-ea"/>
                <a:cs typeface="+mj-cs"/>
                <a:sym typeface="Helvetica"/>
              </a:defRPr>
            </a:pPr>
            <a:endParaRPr sz="1498" kern="0">
              <a:solidFill>
                <a:srgbClr val="000000"/>
              </a:solidFill>
              <a:latin typeface="Calibri"/>
              <a:sym typeface="Helvetica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C6AB95-027D-441A-8216-5FDFBACC6237}"/>
              </a:ext>
            </a:extLst>
          </p:cNvPr>
          <p:cNvSpPr txBox="1"/>
          <p:nvPr/>
        </p:nvSpPr>
        <p:spPr>
          <a:xfrm>
            <a:off x="7591910" y="3365881"/>
            <a:ext cx="1842541" cy="71856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171" hangingPunct="0"/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  </a:t>
            </a:r>
            <a:b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</a:br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 </a:t>
            </a:r>
            <a:b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</a:br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 /db1/</a:t>
            </a:r>
            <a:r>
              <a:rPr lang="en-US" sz="1398" kern="0" dirty="0" err="1">
                <a:solidFill>
                  <a:srgbClr val="8DA6B1"/>
                </a:solidFill>
                <a:latin typeface="Calibri"/>
                <a:sym typeface="Calibri"/>
              </a:rPr>
              <a:t>hr</a:t>
            </a:r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/emp/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5E29BF1-8464-40A1-ABB1-EDD75B3A8261}"/>
              </a:ext>
            </a:extLst>
          </p:cNvPr>
          <p:cNvSpPr txBox="1"/>
          <p:nvPr/>
        </p:nvSpPr>
        <p:spPr>
          <a:xfrm>
            <a:off x="9281486" y="3484552"/>
            <a:ext cx="1249517" cy="96199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171" hangingPunct="0"/>
            <a:r>
              <a:rPr lang="en-US" sz="1198" kern="0" dirty="0">
                <a:solidFill>
                  <a:srgbClr val="8DA6B1"/>
                </a:solidFill>
                <a:latin typeface="Calibri"/>
                <a:sym typeface="Calibri"/>
              </a:rPr>
              <a:t>JSON</a:t>
            </a:r>
          </a:p>
          <a:p>
            <a:pPr defTabSz="914171" hangingPunct="0"/>
            <a:r>
              <a:rPr lang="en-US" sz="1198" kern="0" dirty="0">
                <a:solidFill>
                  <a:srgbClr val="8DA6B1"/>
                </a:solidFill>
                <a:latin typeface="Calibri"/>
                <a:sym typeface="Calibri"/>
              </a:rPr>
              <a:t>Binary</a:t>
            </a:r>
          </a:p>
          <a:p>
            <a:pPr defTabSz="914171" hangingPunct="0"/>
            <a:r>
              <a:rPr lang="en-US" sz="1198" kern="0" dirty="0">
                <a:solidFill>
                  <a:srgbClr val="8DA6B1"/>
                </a:solidFill>
                <a:latin typeface="Calibri"/>
                <a:sym typeface="Calibri"/>
              </a:rPr>
              <a:t>HTML</a:t>
            </a:r>
          </a:p>
          <a:p>
            <a:pPr defTabSz="914171" hangingPunct="0"/>
            <a:r>
              <a:rPr lang="is-IS" sz="1198" kern="0" dirty="0">
                <a:solidFill>
                  <a:srgbClr val="8DA6B1"/>
                </a:solidFill>
                <a:latin typeface="Calibri"/>
                <a:sym typeface="Calibri"/>
              </a:rPr>
              <a:t>…</a:t>
            </a:r>
            <a:endParaRPr lang="en-US" sz="1198" kern="0" dirty="0">
              <a:solidFill>
                <a:srgbClr val="8DA6B1"/>
              </a:solidFill>
              <a:latin typeface="Calibri"/>
              <a:sym typeface="Calibri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A9DEC4AD-9C89-481F-94AD-081BBFC59EFB}"/>
              </a:ext>
            </a:extLst>
          </p:cNvPr>
          <p:cNvCxnSpPr>
            <a:cxnSpLocks/>
          </p:cNvCxnSpPr>
          <p:nvPr/>
        </p:nvCxnSpPr>
        <p:spPr>
          <a:xfrm>
            <a:off x="8835134" y="3691965"/>
            <a:ext cx="0" cy="718561"/>
          </a:xfrm>
          <a:prstGeom prst="straightConnector1">
            <a:avLst/>
          </a:prstGeom>
          <a:ln w="1270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672EEE55-5009-400C-9610-245A77F8DB68}"/>
              </a:ext>
            </a:extLst>
          </p:cNvPr>
          <p:cNvCxnSpPr>
            <a:cxnSpLocks/>
          </p:cNvCxnSpPr>
          <p:nvPr/>
        </p:nvCxnSpPr>
        <p:spPr>
          <a:xfrm flipH="1" flipV="1">
            <a:off x="9124094" y="3691966"/>
            <a:ext cx="14659" cy="718559"/>
          </a:xfrm>
          <a:prstGeom prst="straightConnector1">
            <a:avLst/>
          </a:prstGeom>
          <a:ln w="1270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hape 143">
            <a:extLst>
              <a:ext uri="{FF2B5EF4-FFF2-40B4-BE49-F238E27FC236}">
                <a16:creationId xmlns:a16="http://schemas.microsoft.com/office/drawing/2014/main" id="{7B7A3426-24C8-4348-9473-65E1646A5F76}"/>
              </a:ext>
            </a:extLst>
          </p:cNvPr>
          <p:cNvSpPr/>
          <p:nvPr/>
        </p:nvSpPr>
        <p:spPr>
          <a:xfrm flipV="1">
            <a:off x="9229860" y="4768282"/>
            <a:ext cx="0" cy="627193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0" tIns="0" rIns="0" bIns="0"/>
          <a:lstStyle/>
          <a:p>
            <a:pPr defTabSz="456620" hangingPunct="0">
              <a:defRPr sz="1200">
                <a:solidFill>
                  <a:srgbClr val="000000"/>
                </a:solidFill>
                <a:latin typeface="+mj-lt"/>
                <a:ea typeface="+mj-ea"/>
                <a:cs typeface="+mj-cs"/>
                <a:sym typeface="Helvetica"/>
              </a:defRPr>
            </a:pPr>
            <a:endParaRPr sz="1498" kern="0">
              <a:solidFill>
                <a:srgbClr val="000000"/>
              </a:solidFill>
              <a:latin typeface="Calibri"/>
              <a:sym typeface="Helvetica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78030215-7B7C-4950-A66D-30CDEC3AFC5E}"/>
              </a:ext>
            </a:extLst>
          </p:cNvPr>
          <p:cNvCxnSpPr>
            <a:cxnSpLocks/>
          </p:cNvCxnSpPr>
          <p:nvPr/>
        </p:nvCxnSpPr>
        <p:spPr>
          <a:xfrm flipH="1">
            <a:off x="7660491" y="4778737"/>
            <a:ext cx="219603" cy="395908"/>
          </a:xfrm>
          <a:prstGeom prst="straightConnector1">
            <a:avLst/>
          </a:prstGeom>
          <a:ln w="1270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123BD755-0BF5-4F7B-860F-CEAE73295773}"/>
              </a:ext>
            </a:extLst>
          </p:cNvPr>
          <p:cNvCxnSpPr>
            <a:cxnSpLocks/>
          </p:cNvCxnSpPr>
          <p:nvPr/>
        </p:nvCxnSpPr>
        <p:spPr>
          <a:xfrm flipV="1">
            <a:off x="8007675" y="4856710"/>
            <a:ext cx="174212" cy="357666"/>
          </a:xfrm>
          <a:prstGeom prst="straightConnector1">
            <a:avLst/>
          </a:prstGeom>
          <a:ln w="1270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931EBA6C-0393-491B-8346-50409BD97C9F}"/>
              </a:ext>
            </a:extLst>
          </p:cNvPr>
          <p:cNvSpPr txBox="1"/>
          <p:nvPr/>
        </p:nvSpPr>
        <p:spPr>
          <a:xfrm>
            <a:off x="7760483" y="2026056"/>
            <a:ext cx="887641" cy="50283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171" hangingPunct="0"/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HTTP(s)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E158AE4-F069-4CCD-BADD-FAF3BF9DF397}"/>
              </a:ext>
            </a:extLst>
          </p:cNvPr>
          <p:cNvSpPr txBox="1"/>
          <p:nvPr/>
        </p:nvSpPr>
        <p:spPr>
          <a:xfrm>
            <a:off x="8990631" y="2383300"/>
            <a:ext cx="887641" cy="50283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171" hangingPunct="0"/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Results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BA9F7014-DE40-4C38-B0BB-C26594F7315B}"/>
              </a:ext>
            </a:extLst>
          </p:cNvPr>
          <p:cNvCxnSpPr/>
          <p:nvPr/>
        </p:nvCxnSpPr>
        <p:spPr>
          <a:xfrm>
            <a:off x="9507280" y="3274661"/>
            <a:ext cx="445551" cy="1"/>
          </a:xfrm>
          <a:prstGeom prst="straightConnector1">
            <a:avLst/>
          </a:prstGeom>
          <a:ln w="1270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033B3FC2-5B48-4E14-AA8C-B5D9652C2B64}"/>
              </a:ext>
            </a:extLst>
          </p:cNvPr>
          <p:cNvSpPr txBox="1"/>
          <p:nvPr/>
        </p:nvSpPr>
        <p:spPr>
          <a:xfrm>
            <a:off x="7978165" y="4579042"/>
            <a:ext cx="2223561" cy="50283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171" hangingPunct="0"/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JDBC</a:t>
            </a:r>
            <a:b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</a:br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       pool1   pool2          pool3</a:t>
            </a:r>
          </a:p>
        </p:txBody>
      </p:sp>
      <p:sp>
        <p:nvSpPr>
          <p:cNvPr id="29" name="Shape 143">
            <a:extLst>
              <a:ext uri="{FF2B5EF4-FFF2-40B4-BE49-F238E27FC236}">
                <a16:creationId xmlns:a16="http://schemas.microsoft.com/office/drawing/2014/main" id="{C1C8BE4F-8913-4085-95AC-BF90C4F03A5D}"/>
              </a:ext>
            </a:extLst>
          </p:cNvPr>
          <p:cNvSpPr/>
          <p:nvPr/>
        </p:nvSpPr>
        <p:spPr>
          <a:xfrm flipV="1">
            <a:off x="8900059" y="1790487"/>
            <a:ext cx="0" cy="1128877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0" tIns="0" rIns="0" bIns="0"/>
          <a:lstStyle/>
          <a:p>
            <a:pPr defTabSz="456620" hangingPunct="0">
              <a:defRPr sz="1200">
                <a:solidFill>
                  <a:srgbClr val="000000"/>
                </a:solidFill>
                <a:latin typeface="+mj-lt"/>
                <a:ea typeface="+mj-ea"/>
                <a:cs typeface="+mj-cs"/>
                <a:sym typeface="Helvetica"/>
              </a:defRPr>
            </a:pPr>
            <a:endParaRPr sz="1498" kern="0">
              <a:solidFill>
                <a:srgbClr val="000000"/>
              </a:solidFill>
              <a:latin typeface="Calibri"/>
              <a:sym typeface="Helvetica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2BD3734-938A-41EC-92AA-D38F59F3FEB0}"/>
              </a:ext>
            </a:extLst>
          </p:cNvPr>
          <p:cNvCxnSpPr>
            <a:cxnSpLocks/>
          </p:cNvCxnSpPr>
          <p:nvPr/>
        </p:nvCxnSpPr>
        <p:spPr>
          <a:xfrm>
            <a:off x="8761868" y="2354926"/>
            <a:ext cx="0" cy="377871"/>
          </a:xfrm>
          <a:prstGeom prst="straightConnector1">
            <a:avLst/>
          </a:prstGeom>
          <a:ln w="1270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ADFF1092-A927-4E13-8975-88233BBF202D}"/>
              </a:ext>
            </a:extLst>
          </p:cNvPr>
          <p:cNvCxnSpPr>
            <a:cxnSpLocks/>
          </p:cNvCxnSpPr>
          <p:nvPr/>
        </p:nvCxnSpPr>
        <p:spPr>
          <a:xfrm flipV="1">
            <a:off x="9145792" y="1957579"/>
            <a:ext cx="0" cy="448074"/>
          </a:xfrm>
          <a:prstGeom prst="straightConnector1">
            <a:avLst/>
          </a:prstGeom>
          <a:ln w="1270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3820ACD1-6288-4716-9EF1-7B251E024FF7}"/>
              </a:ext>
            </a:extLst>
          </p:cNvPr>
          <p:cNvSpPr txBox="1"/>
          <p:nvPr/>
        </p:nvSpPr>
        <p:spPr>
          <a:xfrm>
            <a:off x="8396690" y="2038612"/>
            <a:ext cx="887641" cy="50283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171" hangingPunct="0"/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Request</a:t>
            </a:r>
          </a:p>
        </p:txBody>
      </p:sp>
      <p:pic>
        <p:nvPicPr>
          <p:cNvPr id="34" name="Picture 33" descr="download.png">
            <a:extLst>
              <a:ext uri="{FF2B5EF4-FFF2-40B4-BE49-F238E27FC236}">
                <a16:creationId xmlns:a16="http://schemas.microsoft.com/office/drawing/2014/main" id="{2F3C179B-B653-4346-B460-138DD2AECBE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531" y="5344439"/>
            <a:ext cx="1218303" cy="1218303"/>
          </a:xfrm>
          <a:prstGeom prst="rect">
            <a:avLst/>
          </a:prstGeom>
        </p:spPr>
      </p:pic>
      <p:pic>
        <p:nvPicPr>
          <p:cNvPr id="35" name="Picture 34" descr="download.png">
            <a:extLst>
              <a:ext uri="{FF2B5EF4-FFF2-40B4-BE49-F238E27FC236}">
                <a16:creationId xmlns:a16="http://schemas.microsoft.com/office/drawing/2014/main" id="{1C3349AA-FFCA-4401-B2E0-05AC8D78B52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7728" y="5344440"/>
            <a:ext cx="1218303" cy="1218303"/>
          </a:xfrm>
          <a:prstGeom prst="rect">
            <a:avLst/>
          </a:prstGeom>
        </p:spPr>
      </p:pic>
      <p:sp>
        <p:nvSpPr>
          <p:cNvPr id="36" name="Shape 143">
            <a:extLst>
              <a:ext uri="{FF2B5EF4-FFF2-40B4-BE49-F238E27FC236}">
                <a16:creationId xmlns:a16="http://schemas.microsoft.com/office/drawing/2014/main" id="{C772546A-40D1-49EB-B1DB-B0012F82D085}"/>
              </a:ext>
            </a:extLst>
          </p:cNvPr>
          <p:cNvSpPr/>
          <p:nvPr/>
        </p:nvSpPr>
        <p:spPr>
          <a:xfrm flipH="1" flipV="1">
            <a:off x="10056211" y="4724863"/>
            <a:ext cx="610933" cy="627193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0" tIns="0" rIns="0" bIns="0"/>
          <a:lstStyle/>
          <a:p>
            <a:pPr defTabSz="456620" hangingPunct="0">
              <a:defRPr sz="1200">
                <a:solidFill>
                  <a:srgbClr val="000000"/>
                </a:solidFill>
                <a:latin typeface="+mj-lt"/>
                <a:ea typeface="+mj-ea"/>
                <a:cs typeface="+mj-cs"/>
                <a:sym typeface="Helvetica"/>
              </a:defRPr>
            </a:pPr>
            <a:endParaRPr sz="1498" kern="0">
              <a:solidFill>
                <a:srgbClr val="000000"/>
              </a:solidFill>
              <a:latin typeface="Calibri"/>
              <a:sym typeface="Helvetica"/>
            </a:endParaRPr>
          </a:p>
        </p:txBody>
      </p:sp>
      <p:sp>
        <p:nvSpPr>
          <p:cNvPr id="37" name="Shape 143">
            <a:extLst>
              <a:ext uri="{FF2B5EF4-FFF2-40B4-BE49-F238E27FC236}">
                <a16:creationId xmlns:a16="http://schemas.microsoft.com/office/drawing/2014/main" id="{8E897649-0560-4BE3-99B7-6A614DB6C747}"/>
              </a:ext>
            </a:extLst>
          </p:cNvPr>
          <p:cNvSpPr/>
          <p:nvPr/>
        </p:nvSpPr>
        <p:spPr>
          <a:xfrm flipV="1">
            <a:off x="7771097" y="4816792"/>
            <a:ext cx="255528" cy="536143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0" tIns="0" rIns="0" bIns="0"/>
          <a:lstStyle/>
          <a:p>
            <a:pPr defTabSz="456620" hangingPunct="0">
              <a:defRPr sz="1200">
                <a:solidFill>
                  <a:srgbClr val="000000"/>
                </a:solidFill>
                <a:latin typeface="+mj-lt"/>
                <a:ea typeface="+mj-ea"/>
                <a:cs typeface="+mj-cs"/>
                <a:sym typeface="Helvetica"/>
              </a:defRPr>
            </a:pPr>
            <a:endParaRPr sz="1498" kern="0">
              <a:solidFill>
                <a:srgbClr val="000000"/>
              </a:solidFill>
              <a:latin typeface="Calibri"/>
              <a:sym typeface="Helvetica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CFE0B3E-6281-46C7-88D0-222243D35F42}"/>
              </a:ext>
            </a:extLst>
          </p:cNvPr>
          <p:cNvSpPr txBox="1"/>
          <p:nvPr/>
        </p:nvSpPr>
        <p:spPr>
          <a:xfrm>
            <a:off x="8997803" y="4579042"/>
            <a:ext cx="1249517" cy="50283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171" hangingPunct="0"/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JDBC 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0270E46-06CB-4770-9059-DACC24AB0C67}"/>
              </a:ext>
            </a:extLst>
          </p:cNvPr>
          <p:cNvSpPr txBox="1"/>
          <p:nvPr/>
        </p:nvSpPr>
        <p:spPr>
          <a:xfrm>
            <a:off x="9800071" y="4551990"/>
            <a:ext cx="1249517" cy="50283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171" hangingPunct="0"/>
            <a:r>
              <a:rPr lang="en-US" sz="1398" kern="0" dirty="0">
                <a:solidFill>
                  <a:srgbClr val="8DA6B1"/>
                </a:solidFill>
                <a:latin typeface="Calibri"/>
                <a:sym typeface="Calibri"/>
              </a:rPr>
              <a:t>JDBC </a:t>
            </a:r>
          </a:p>
        </p:txBody>
      </p:sp>
      <p:pic>
        <p:nvPicPr>
          <p:cNvPr id="40" name="Picture 4" descr="rest1.png">
            <a:extLst>
              <a:ext uri="{FF2B5EF4-FFF2-40B4-BE49-F238E27FC236}">
                <a16:creationId xmlns:a16="http://schemas.microsoft.com/office/drawing/2014/main" id="{C98A83E3-F5C2-C448-94A8-1A9D31BBBD8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7596" y="330463"/>
            <a:ext cx="966825" cy="967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62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DA: Simple Oracle Document Access</a:t>
            </a:r>
          </a:p>
        </p:txBody>
      </p:sp>
      <p:sp>
        <p:nvSpPr>
          <p:cNvPr id="46083" name="Content Placeholder 2"/>
          <p:cNvSpPr>
            <a:spLocks noGrp="1"/>
          </p:cNvSpPr>
          <p:nvPr>
            <p:ph idx="1"/>
          </p:nvPr>
        </p:nvSpPr>
        <p:spPr>
          <a:xfrm>
            <a:off x="532735" y="1524000"/>
            <a:ext cx="11126535" cy="4419600"/>
          </a:xfrm>
        </p:spPr>
        <p:txBody>
          <a:bodyPr>
            <a:normAutofit/>
          </a:bodyPr>
          <a:lstStyle/>
          <a:p>
            <a:r>
              <a:rPr lang="en-US" dirty="0"/>
              <a:t>A simple NoSQL-style API for Oracle</a:t>
            </a:r>
          </a:p>
          <a:p>
            <a:pPr lvl="1"/>
            <a:r>
              <a:rPr lang="en-US" altLang="ja-JP" dirty="0"/>
              <a:t>Collection Management: Create and drop collections</a:t>
            </a:r>
          </a:p>
          <a:p>
            <a:pPr lvl="1"/>
            <a:r>
              <a:rPr lang="en-US" altLang="ja-JP" dirty="0"/>
              <a:t>Document Management: CRUD (Create, Retrieve, Update and Delete) operations</a:t>
            </a:r>
          </a:p>
          <a:p>
            <a:pPr lvl="1"/>
            <a:r>
              <a:rPr lang="en-US" altLang="ja-JP" dirty="0"/>
              <a:t>List and Search: (Query-by-Example) operations on collections</a:t>
            </a:r>
          </a:p>
          <a:p>
            <a:pPr lvl="1"/>
            <a:r>
              <a:rPr lang="en-US" altLang="ja-JP" dirty="0"/>
              <a:t>Utility and Control: Bulk Insert, index management</a:t>
            </a:r>
            <a:endParaRPr lang="en-US" dirty="0"/>
          </a:p>
          <a:p>
            <a:r>
              <a:rPr lang="en-US" dirty="0"/>
              <a:t>Developers can work with Oracle without learning SQL or requiring DBA support</a:t>
            </a:r>
          </a:p>
          <a:p>
            <a:pPr lvl="1"/>
            <a:r>
              <a:rPr lang="en-US" dirty="0"/>
              <a:t>Same development experience as pure-play document stores</a:t>
            </a:r>
          </a:p>
        </p:txBody>
      </p:sp>
      <p:pic>
        <p:nvPicPr>
          <p:cNvPr id="4" name="Picture 4" descr="rest1.png">
            <a:extLst>
              <a:ext uri="{FF2B5EF4-FFF2-40B4-BE49-F238E27FC236}">
                <a16:creationId xmlns:a16="http://schemas.microsoft.com/office/drawing/2014/main" id="{E48C3277-6516-3540-A96D-D80CA2E662A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7596" y="330463"/>
            <a:ext cx="966825" cy="967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4498038"/>
      </p:ext>
    </p:extLst>
  </p:cSld>
  <p:clrMapOvr>
    <a:masterClrMapping/>
  </p:clrMapOvr>
  <p:transition spd="med"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C76E1649-D7AD-344B-AFE2-33772BA3C4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/>
              <a:t>Overview</a:t>
            </a:r>
            <a:endParaRPr lang="es-ES" dirty="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B5F6DC83-F56F-3E4F-91DD-51ACE9D9FB48}"/>
              </a:ext>
            </a:extLst>
          </p:cNvPr>
          <p:cNvSpPr txBox="1"/>
          <p:nvPr/>
        </p:nvSpPr>
        <p:spPr>
          <a:xfrm>
            <a:off x="3275730" y="2300748"/>
            <a:ext cx="5471652" cy="23449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s-ES" sz="4000" dirty="0" err="1">
                <a:solidFill>
                  <a:schemeClr val="bg1">
                    <a:lumMod val="85000"/>
                  </a:schemeClr>
                </a:solidFill>
              </a:rPr>
              <a:t>MultiTenant</a:t>
            </a:r>
            <a:endParaRPr lang="es-ES" sz="4000" dirty="0">
              <a:solidFill>
                <a:schemeClr val="bg1">
                  <a:lumMod val="85000"/>
                </a:schemeClr>
              </a:solidFill>
            </a:endParaRP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s-ES" sz="4000" dirty="0" err="1">
                <a:solidFill>
                  <a:schemeClr val="bg1">
                    <a:lumMod val="85000"/>
                  </a:schemeClr>
                </a:solidFill>
              </a:rPr>
              <a:t>MultiModel</a:t>
            </a:r>
            <a:r>
              <a:rPr lang="es-ES" sz="4000" dirty="0">
                <a:solidFill>
                  <a:schemeClr val="bg1">
                    <a:lumMod val="85000"/>
                  </a:schemeClr>
                </a:solidFill>
              </a:rPr>
              <a:t> - JSON</a:t>
            </a: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s-ES" sz="4000" dirty="0" err="1"/>
              <a:t>InMemory</a:t>
            </a:r>
            <a:endParaRPr lang="es-ES" sz="4000" dirty="0"/>
          </a:p>
        </p:txBody>
      </p:sp>
    </p:spTree>
    <p:extLst>
      <p:ext uri="{BB962C8B-B14F-4D97-AF65-F5344CB8AC3E}">
        <p14:creationId xmlns:p14="http://schemas.microsoft.com/office/powerpoint/2010/main" val="20372607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half" idx="1"/>
          </p:nvPr>
        </p:nvSpPr>
        <p:spPr>
          <a:xfrm>
            <a:off x="515709" y="1672039"/>
            <a:ext cx="5929971" cy="4533166"/>
          </a:xfrm>
        </p:spPr>
        <p:txBody>
          <a:bodyPr/>
          <a:lstStyle/>
          <a:p>
            <a:pPr marL="342797" indent="-342797"/>
            <a:r>
              <a:rPr lang="en-US" sz="2398" dirty="0"/>
              <a:t>Analytic indexes can slow down the performance of transactional applications</a:t>
            </a:r>
          </a:p>
          <a:p>
            <a:pPr marL="574503" lvl="1" indent="-220597">
              <a:buFont typeface="System Font Regular"/>
              <a:buChar char="-"/>
            </a:pPr>
            <a:r>
              <a:rPr lang="en-US" sz="1999" dirty="0">
                <a:cs typeface="Arial" pitchFamily="34" charset="0"/>
              </a:rPr>
              <a:t>Requires significantly more database storage </a:t>
            </a:r>
            <a:br>
              <a:rPr lang="en-US" sz="1999" dirty="0">
                <a:cs typeface="Arial" pitchFamily="34" charset="0"/>
              </a:rPr>
            </a:br>
            <a:r>
              <a:rPr lang="en-US" sz="1400" dirty="0">
                <a:cs typeface="Arial" pitchFamily="34" charset="0"/>
              </a:rPr>
              <a:t>(on costly tier 1 storage)</a:t>
            </a:r>
            <a:endParaRPr lang="en-US" sz="1400" dirty="0"/>
          </a:p>
          <a:p>
            <a:pPr marL="574503" lvl="1" indent="-220597">
              <a:buFont typeface="System Font Regular"/>
              <a:buChar char="-"/>
            </a:pPr>
            <a:r>
              <a:rPr lang="en-US" sz="1999" dirty="0"/>
              <a:t>Increases overhead due to index maintenance</a:t>
            </a:r>
          </a:p>
          <a:p>
            <a:pPr marL="342797" indent="-342797"/>
            <a:r>
              <a:rPr lang="en-US" sz="2398" dirty="0"/>
              <a:t>Database In-Memory allows users to eliminate analytic reporting indexes – without impacting performance</a:t>
            </a:r>
          </a:p>
          <a:p>
            <a:pPr marL="342797" indent="-342797"/>
            <a:r>
              <a:rPr lang="en-US" sz="2398" dirty="0"/>
              <a:t>Removing the need for analytic reporting indexes greatly simplifies tuning and reduces ongoing administration</a:t>
            </a:r>
            <a:endParaRPr lang="en-US" sz="1999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63783" y="551994"/>
            <a:ext cx="5701691" cy="469801"/>
          </a:xfrm>
        </p:spPr>
        <p:txBody>
          <a:bodyPr/>
          <a:lstStyle/>
          <a:p>
            <a:r>
              <a:rPr lang="en-US" sz="3599" dirty="0"/>
              <a:t>Reduced Overhead</a:t>
            </a:r>
            <a:endParaRPr lang="en-US" sz="3599" dirty="0">
              <a:solidFill>
                <a:srgbClr val="F80000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7098405" y="1277878"/>
            <a:ext cx="4476851" cy="3135398"/>
            <a:chOff x="958684" y="2377185"/>
            <a:chExt cx="4930909" cy="3104342"/>
          </a:xfrm>
        </p:grpSpPr>
        <p:grpSp>
          <p:nvGrpSpPr>
            <p:cNvPr id="9" name="Group 8"/>
            <p:cNvGrpSpPr/>
            <p:nvPr/>
          </p:nvGrpSpPr>
          <p:grpSpPr>
            <a:xfrm>
              <a:off x="958684" y="2458162"/>
              <a:ext cx="4497340" cy="2968273"/>
              <a:chOff x="363739" y="1942742"/>
              <a:chExt cx="6479049" cy="4028089"/>
            </a:xfrm>
          </p:grpSpPr>
          <p:grpSp>
            <p:nvGrpSpPr>
              <p:cNvPr id="11" name="Group 16"/>
              <p:cNvGrpSpPr/>
              <p:nvPr/>
            </p:nvGrpSpPr>
            <p:grpSpPr>
              <a:xfrm>
                <a:off x="1674427" y="2939766"/>
                <a:ext cx="920426" cy="3031065"/>
                <a:chOff x="1320800" y="1743363"/>
                <a:chExt cx="690499" cy="2273299"/>
              </a:xfrm>
            </p:grpSpPr>
            <p:pic>
              <p:nvPicPr>
                <p:cNvPr id="29" name="Picture 9" descr="Flat Index.psd"/>
                <p:cNvPicPr>
                  <a:picLocks noChangeAspect="1"/>
                </p:cNvPicPr>
                <p:nvPr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20800" y="1743363"/>
                  <a:ext cx="690499" cy="894772"/>
                </a:xfrm>
                <a:prstGeom prst="rect">
                  <a:avLst/>
                </a:prstGeom>
              </p:spPr>
            </p:pic>
            <p:pic>
              <p:nvPicPr>
                <p:cNvPr id="30" name="Picture 29" descr="Flat Index.psd"/>
                <p:cNvPicPr>
                  <a:picLocks noChangeAspect="1"/>
                </p:cNvPicPr>
                <p:nvPr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20800" y="2426142"/>
                  <a:ext cx="690499" cy="894772"/>
                </a:xfrm>
                <a:prstGeom prst="rect">
                  <a:avLst/>
                </a:prstGeom>
              </p:spPr>
            </p:pic>
            <p:pic>
              <p:nvPicPr>
                <p:cNvPr id="31" name="Picture 30" descr="Flat Index.psd"/>
                <p:cNvPicPr>
                  <a:picLocks noChangeAspect="1"/>
                </p:cNvPicPr>
                <p:nvPr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20800" y="3121890"/>
                  <a:ext cx="690499" cy="894772"/>
                </a:xfrm>
                <a:prstGeom prst="rect">
                  <a:avLst/>
                </a:prstGeom>
              </p:spPr>
            </p:pic>
          </p:grpSp>
          <p:cxnSp>
            <p:nvCxnSpPr>
              <p:cNvPr id="12" name="Straight Connector 11"/>
              <p:cNvCxnSpPr/>
              <p:nvPr/>
            </p:nvCxnSpPr>
            <p:spPr>
              <a:xfrm>
                <a:off x="3290968" y="2042644"/>
                <a:ext cx="0" cy="3726012"/>
              </a:xfrm>
              <a:prstGeom prst="line">
                <a:avLst/>
              </a:prstGeom>
              <a:ln w="19050">
                <a:solidFill>
                  <a:schemeClr val="accent5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3" name="Group 15"/>
              <p:cNvGrpSpPr/>
              <p:nvPr/>
            </p:nvGrpSpPr>
            <p:grpSpPr>
              <a:xfrm>
                <a:off x="4081509" y="2828975"/>
                <a:ext cx="2761279" cy="3038394"/>
                <a:chOff x="3126581" y="1636777"/>
                <a:chExt cx="2071498" cy="2278797"/>
              </a:xfrm>
            </p:grpSpPr>
            <p:grpSp>
              <p:nvGrpSpPr>
                <p:cNvPr id="17" name="Group 12"/>
                <p:cNvGrpSpPr/>
                <p:nvPr/>
              </p:nvGrpSpPr>
              <p:grpSpPr>
                <a:xfrm>
                  <a:off x="3817080" y="1642275"/>
                  <a:ext cx="690499" cy="2273299"/>
                  <a:chOff x="3817080" y="1584550"/>
                  <a:chExt cx="690499" cy="2273299"/>
                </a:xfrm>
              </p:grpSpPr>
              <p:pic>
                <p:nvPicPr>
                  <p:cNvPr id="26" name="Picture 25" descr="Flat Index.psd"/>
                  <p:cNvPicPr>
                    <a:picLocks noChangeAspect="1"/>
                  </p:cNvPicPr>
                  <p:nvPr/>
                </p:nvPicPr>
                <p:blipFill>
                  <a:blip r:embed="rId3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817080" y="1584550"/>
                    <a:ext cx="690499" cy="894772"/>
                  </a:xfrm>
                  <a:prstGeom prst="rect">
                    <a:avLst/>
                  </a:prstGeom>
                </p:spPr>
              </p:pic>
              <p:pic>
                <p:nvPicPr>
                  <p:cNvPr id="27" name="Picture 26" descr="Flat Index.psd"/>
                  <p:cNvPicPr>
                    <a:picLocks noChangeAspect="1"/>
                  </p:cNvPicPr>
                  <p:nvPr/>
                </p:nvPicPr>
                <p:blipFill>
                  <a:blip r:embed="rId3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817080" y="2267328"/>
                    <a:ext cx="690499" cy="894772"/>
                  </a:xfrm>
                  <a:prstGeom prst="rect">
                    <a:avLst/>
                  </a:prstGeom>
                </p:spPr>
              </p:pic>
              <p:pic>
                <p:nvPicPr>
                  <p:cNvPr id="28" name="Picture 27" descr="Flat Index.psd"/>
                  <p:cNvPicPr>
                    <a:picLocks noChangeAspect="1"/>
                  </p:cNvPicPr>
                  <p:nvPr/>
                </p:nvPicPr>
                <p:blipFill>
                  <a:blip r:embed="rId3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817080" y="2963077"/>
                    <a:ext cx="690499" cy="894772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8" name="Group 60"/>
                <p:cNvGrpSpPr/>
                <p:nvPr/>
              </p:nvGrpSpPr>
              <p:grpSpPr>
                <a:xfrm>
                  <a:off x="3126581" y="1639525"/>
                  <a:ext cx="690499" cy="2273299"/>
                  <a:chOff x="3817080" y="1584549"/>
                  <a:chExt cx="690499" cy="2273299"/>
                </a:xfrm>
              </p:grpSpPr>
              <p:pic>
                <p:nvPicPr>
                  <p:cNvPr id="23" name="Picture 22" descr="Flat Index.psd"/>
                  <p:cNvPicPr>
                    <a:picLocks noChangeAspect="1"/>
                  </p:cNvPicPr>
                  <p:nvPr/>
                </p:nvPicPr>
                <p:blipFill>
                  <a:blip r:embed="rId3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817080" y="1584549"/>
                    <a:ext cx="690499" cy="894772"/>
                  </a:xfrm>
                  <a:prstGeom prst="rect">
                    <a:avLst/>
                  </a:prstGeom>
                </p:spPr>
              </p:pic>
              <p:pic>
                <p:nvPicPr>
                  <p:cNvPr id="24" name="Picture 23" descr="Flat Index.psd"/>
                  <p:cNvPicPr>
                    <a:picLocks noChangeAspect="1"/>
                  </p:cNvPicPr>
                  <p:nvPr/>
                </p:nvPicPr>
                <p:blipFill>
                  <a:blip r:embed="rId3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817080" y="2267328"/>
                    <a:ext cx="690499" cy="894772"/>
                  </a:xfrm>
                  <a:prstGeom prst="rect">
                    <a:avLst/>
                  </a:prstGeom>
                </p:spPr>
              </p:pic>
              <p:pic>
                <p:nvPicPr>
                  <p:cNvPr id="25" name="Picture 24" descr="Flat Index.psd"/>
                  <p:cNvPicPr>
                    <a:picLocks noChangeAspect="1"/>
                  </p:cNvPicPr>
                  <p:nvPr/>
                </p:nvPicPr>
                <p:blipFill>
                  <a:blip r:embed="rId3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817080" y="2963076"/>
                    <a:ext cx="690499" cy="894772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9" name="Group 64"/>
                <p:cNvGrpSpPr/>
                <p:nvPr/>
              </p:nvGrpSpPr>
              <p:grpSpPr>
                <a:xfrm>
                  <a:off x="4507579" y="1636777"/>
                  <a:ext cx="690500" cy="2273298"/>
                  <a:chOff x="3817080" y="1584550"/>
                  <a:chExt cx="690500" cy="2273298"/>
                </a:xfrm>
              </p:grpSpPr>
              <p:pic>
                <p:nvPicPr>
                  <p:cNvPr id="20" name="Picture 19" descr="Flat Index.psd"/>
                  <p:cNvPicPr>
                    <a:picLocks noChangeAspect="1"/>
                  </p:cNvPicPr>
                  <p:nvPr/>
                </p:nvPicPr>
                <p:blipFill>
                  <a:blip r:embed="rId3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817080" y="1584550"/>
                    <a:ext cx="690499" cy="894772"/>
                  </a:xfrm>
                  <a:prstGeom prst="rect">
                    <a:avLst/>
                  </a:prstGeom>
                </p:spPr>
              </p:pic>
              <p:pic>
                <p:nvPicPr>
                  <p:cNvPr id="21" name="Picture 20" descr="Flat Index.psd"/>
                  <p:cNvPicPr>
                    <a:picLocks noChangeAspect="1"/>
                  </p:cNvPicPr>
                  <p:nvPr/>
                </p:nvPicPr>
                <p:blipFill>
                  <a:blip r:embed="rId3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817081" y="2267328"/>
                    <a:ext cx="690499" cy="894772"/>
                  </a:xfrm>
                  <a:prstGeom prst="rect">
                    <a:avLst/>
                  </a:prstGeom>
                </p:spPr>
              </p:pic>
              <p:pic>
                <p:nvPicPr>
                  <p:cNvPr id="22" name="Picture 21" descr="Flat Index.psd"/>
                  <p:cNvPicPr>
                    <a:picLocks noChangeAspect="1"/>
                  </p:cNvPicPr>
                  <p:nvPr/>
                </p:nvPicPr>
                <p:blipFill>
                  <a:blip r:embed="rId3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817081" y="2963076"/>
                    <a:ext cx="690499" cy="894772"/>
                  </a:xfrm>
                  <a:prstGeom prst="rect">
                    <a:avLst/>
                  </a:prstGeom>
                </p:spPr>
              </p:pic>
            </p:grpSp>
          </p:grpSp>
          <p:sp>
            <p:nvSpPr>
              <p:cNvPr id="14" name="TextBox 13"/>
              <p:cNvSpPr txBox="1"/>
              <p:nvPr/>
            </p:nvSpPr>
            <p:spPr>
              <a:xfrm>
                <a:off x="363739" y="3505019"/>
                <a:ext cx="837213" cy="3336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defTabSz="914103">
                  <a:lnSpc>
                    <a:spcPct val="90000"/>
                  </a:lnSpc>
                </a:pPr>
                <a:r>
                  <a:rPr lang="en-US" sz="1400" dirty="0">
                    <a:solidFill>
                      <a:srgbClr val="58595B"/>
                    </a:solidFill>
                    <a:latin typeface="Calibri"/>
                  </a:rPr>
                  <a:t>Table</a:t>
                </a: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1720595" y="1942742"/>
                <a:ext cx="837213" cy="7953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 defTabSz="914103">
                  <a:lnSpc>
                    <a:spcPct val="90000"/>
                  </a:lnSpc>
                </a:pPr>
                <a:r>
                  <a:rPr lang="en-US" sz="1400" dirty="0">
                    <a:solidFill>
                      <a:srgbClr val="58595B"/>
                    </a:solidFill>
                    <a:latin typeface="Calibri"/>
                  </a:rPr>
                  <a:t>1 – 3 </a:t>
                </a:r>
              </a:p>
              <a:p>
                <a:pPr algn="ctr" defTabSz="914103">
                  <a:lnSpc>
                    <a:spcPct val="90000"/>
                  </a:lnSpc>
                </a:pPr>
                <a:r>
                  <a:rPr lang="en-US" sz="1400" dirty="0">
                    <a:solidFill>
                      <a:srgbClr val="58595B"/>
                    </a:solidFill>
                    <a:latin typeface="Calibri"/>
                  </a:rPr>
                  <a:t>OLTP</a:t>
                </a:r>
              </a:p>
              <a:p>
                <a:pPr algn="ctr" defTabSz="914103">
                  <a:lnSpc>
                    <a:spcPct val="90000"/>
                  </a:lnSpc>
                </a:pPr>
                <a:r>
                  <a:rPr lang="en-US" sz="1400" dirty="0">
                    <a:solidFill>
                      <a:srgbClr val="58595B"/>
                    </a:solidFill>
                    <a:latin typeface="Calibri"/>
                  </a:rPr>
                  <a:t>Indexes</a:t>
                </a: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5061138" y="1942742"/>
                <a:ext cx="837213" cy="74256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 defTabSz="914103">
                  <a:lnSpc>
                    <a:spcPct val="90000"/>
                  </a:lnSpc>
                </a:pPr>
                <a:r>
                  <a:rPr lang="en-US" sz="1400" dirty="0">
                    <a:solidFill>
                      <a:srgbClr val="58595B"/>
                    </a:solidFill>
                    <a:latin typeface="Calibri"/>
                  </a:rPr>
                  <a:t>10 – 20 </a:t>
                </a:r>
              </a:p>
              <a:p>
                <a:pPr algn="ctr" defTabSz="914103">
                  <a:lnSpc>
                    <a:spcPct val="90000"/>
                  </a:lnSpc>
                </a:pPr>
                <a:r>
                  <a:rPr lang="en-US" sz="1400" dirty="0">
                    <a:solidFill>
                      <a:srgbClr val="58595B"/>
                    </a:solidFill>
                    <a:latin typeface="Calibri"/>
                  </a:rPr>
                  <a:t>Analytic</a:t>
                </a:r>
              </a:p>
              <a:p>
                <a:pPr algn="ctr" defTabSz="914103">
                  <a:lnSpc>
                    <a:spcPct val="90000"/>
                  </a:lnSpc>
                </a:pPr>
                <a:r>
                  <a:rPr lang="en-US" sz="1400" dirty="0">
                    <a:solidFill>
                      <a:srgbClr val="58595B"/>
                    </a:solidFill>
                    <a:latin typeface="Calibri"/>
                  </a:rPr>
                  <a:t>Indexes</a:t>
                </a:r>
              </a:p>
            </p:txBody>
          </p:sp>
        </p:grpSp>
        <p:sp>
          <p:nvSpPr>
            <p:cNvPr id="41" name="Oval 40"/>
            <p:cNvSpPr/>
            <p:nvPr/>
          </p:nvSpPr>
          <p:spPr>
            <a:xfrm>
              <a:off x="3118540" y="2377185"/>
              <a:ext cx="2771053" cy="3104342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3">
                <a:lnSpc>
                  <a:spcPct val="90000"/>
                </a:lnSpc>
              </a:pPr>
              <a:endParaRPr lang="en-US" sz="1400" dirty="0">
                <a:solidFill>
                  <a:srgbClr val="FFFFFF"/>
                </a:solidFill>
                <a:latin typeface="Calibri"/>
              </a:endParaRPr>
            </a:p>
          </p:txBody>
        </p:sp>
      </p:grpSp>
      <p:sp>
        <p:nvSpPr>
          <p:cNvPr id="40" name="Text Placeholder 2"/>
          <p:cNvSpPr txBox="1">
            <a:spLocks/>
          </p:cNvSpPr>
          <p:nvPr/>
        </p:nvSpPr>
        <p:spPr>
          <a:xfrm>
            <a:off x="407054" y="1053643"/>
            <a:ext cx="6023640" cy="38593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103">
              <a:buClr>
                <a:srgbClr val="58595B">
                  <a:lumMod val="60000"/>
                  <a:lumOff val="40000"/>
                </a:srgbClr>
              </a:buClr>
              <a:buNone/>
            </a:pPr>
            <a:r>
              <a:rPr lang="en-US" sz="2398" dirty="0">
                <a:solidFill>
                  <a:srgbClr val="FF0000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rPr>
              <a:t>Faster Analytics -- Less Storage Overhead</a:t>
            </a:r>
          </a:p>
        </p:txBody>
      </p:sp>
      <p:sp>
        <p:nvSpPr>
          <p:cNvPr id="4" name="Rectangle 3"/>
          <p:cNvSpPr/>
          <p:nvPr/>
        </p:nvSpPr>
        <p:spPr>
          <a:xfrm>
            <a:off x="7000175" y="916353"/>
            <a:ext cx="4930733" cy="3396186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3">
              <a:lnSpc>
                <a:spcPct val="90000"/>
              </a:lnSpc>
            </a:pPr>
            <a:endParaRPr lang="en-US" sz="1400" dirty="0">
              <a:solidFill>
                <a:srgbClr val="FFFFFF"/>
              </a:solidFill>
              <a:latin typeface="Calibri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6E9461B0-D20C-514F-BE76-42D476195891}"/>
              </a:ext>
            </a:extLst>
          </p:cNvPr>
          <p:cNvCxnSpPr>
            <a:cxnSpLocks/>
          </p:cNvCxnSpPr>
          <p:nvPr/>
        </p:nvCxnSpPr>
        <p:spPr>
          <a:xfrm>
            <a:off x="6505316" y="1370248"/>
            <a:ext cx="0" cy="4819971"/>
          </a:xfrm>
          <a:prstGeom prst="line">
            <a:avLst/>
          </a:prstGeom>
          <a:ln w="25400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CC2EB5FC-53AA-DE42-80D6-C6D7A8861504}"/>
              </a:ext>
            </a:extLst>
          </p:cNvPr>
          <p:cNvSpPr txBox="1"/>
          <p:nvPr/>
        </p:nvSpPr>
        <p:spPr>
          <a:xfrm>
            <a:off x="6863493" y="4600526"/>
            <a:ext cx="4840562" cy="12000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999"/>
              <a:t>Using Database In-Memory resulted in:</a:t>
            </a:r>
          </a:p>
          <a:p>
            <a:pPr marL="285664" indent="-285664">
              <a:spcBef>
                <a:spcPts val="600"/>
              </a:spcBef>
              <a:buFont typeface="System Font Regular"/>
              <a:buChar char="-"/>
            </a:pPr>
            <a:r>
              <a:rPr lang="en-US" sz="1400" b="1">
                <a:solidFill>
                  <a:schemeClr val="accent1"/>
                </a:solidFill>
              </a:rPr>
              <a:t>Performance Gains: 1.8X to 12X</a:t>
            </a:r>
          </a:p>
          <a:p>
            <a:pPr marL="285664" indent="-285664">
              <a:spcBef>
                <a:spcPts val="600"/>
              </a:spcBef>
              <a:buFont typeface="System Font Regular"/>
              <a:buChar char="-"/>
            </a:pPr>
            <a:r>
              <a:rPr lang="en-US" sz="1400" b="1">
                <a:solidFill>
                  <a:schemeClr val="accent1"/>
                </a:solidFill>
              </a:rPr>
              <a:t>Space savings and reduced contention on DML by dropping analytic indexes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7FF6D3D-0171-CF47-B62A-C9DC7824DC01}"/>
              </a:ext>
            </a:extLst>
          </p:cNvPr>
          <p:cNvGrpSpPr/>
          <p:nvPr/>
        </p:nvGrpSpPr>
        <p:grpSpPr>
          <a:xfrm>
            <a:off x="6863493" y="2763011"/>
            <a:ext cx="879452" cy="773764"/>
            <a:chOff x="2707411" y="2920181"/>
            <a:chExt cx="1534705" cy="1296637"/>
          </a:xfrm>
        </p:grpSpPr>
        <p:pic>
          <p:nvPicPr>
            <p:cNvPr id="44" name="1-column-6-rows.png">
              <a:extLst>
                <a:ext uri="{FF2B5EF4-FFF2-40B4-BE49-F238E27FC236}">
                  <a16:creationId xmlns:a16="http://schemas.microsoft.com/office/drawing/2014/main" id="{A4C2F4A8-A492-E744-932A-1084A3C6A6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07411" y="2920197"/>
              <a:ext cx="457557" cy="129540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9" name="1-column-6-rows.png">
              <a:extLst>
                <a:ext uri="{FF2B5EF4-FFF2-40B4-BE49-F238E27FC236}">
                  <a16:creationId xmlns:a16="http://schemas.microsoft.com/office/drawing/2014/main" id="{7FB5BA45-B564-A140-B39D-6327AA636E8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20507" y="2920197"/>
              <a:ext cx="457557" cy="129540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50" name="1-column-6-rows.png">
              <a:extLst>
                <a:ext uri="{FF2B5EF4-FFF2-40B4-BE49-F238E27FC236}">
                  <a16:creationId xmlns:a16="http://schemas.microsoft.com/office/drawing/2014/main" id="{3BAB4CDD-ADEF-0741-9214-65641D4DC94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68360" y="2920181"/>
              <a:ext cx="457558" cy="129540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53" name="1-column-6-rows.png">
              <a:extLst>
                <a:ext uri="{FF2B5EF4-FFF2-40B4-BE49-F238E27FC236}">
                  <a16:creationId xmlns:a16="http://schemas.microsoft.com/office/drawing/2014/main" id="{8F271094-4461-6D4C-97CA-87FB150051F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84559" y="2921417"/>
              <a:ext cx="457557" cy="129540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1615850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>
          <a:xfrm>
            <a:off x="537749" y="408765"/>
            <a:ext cx="11165111" cy="775535"/>
          </a:xfrm>
        </p:spPr>
        <p:txBody>
          <a:bodyPr>
            <a:noAutofit/>
          </a:bodyPr>
          <a:lstStyle/>
          <a:p>
            <a:r>
              <a:rPr lang="en-US" sz="3599" dirty="0"/>
              <a:t>Row Format Databases vs. Column Format Databases</a:t>
            </a:r>
            <a:endParaRPr lang="en-US" sz="3599" dirty="0">
              <a:solidFill>
                <a:srgbClr val="FF0000"/>
              </a:solidFill>
            </a:endParaRPr>
          </a:p>
        </p:txBody>
      </p:sp>
      <p:sp>
        <p:nvSpPr>
          <p:cNvPr id="200" name="Rectangle 199"/>
          <p:cNvSpPr/>
          <p:nvPr/>
        </p:nvSpPr>
        <p:spPr>
          <a:xfrm>
            <a:off x="697868" y="1703022"/>
            <a:ext cx="10759116" cy="1370797"/>
          </a:xfrm>
          <a:prstGeom prst="rect">
            <a:avLst/>
          </a:prstGeom>
          <a:solidFill>
            <a:srgbClr val="EAEAEA"/>
          </a:solidFill>
          <a:ln>
            <a:noFill/>
          </a:ln>
          <a:effectLst>
            <a:outerShdw blurRad="152400" dist="63500" dir="78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03" tIns="243608" rIns="121803" bIns="60901" anchor="t"/>
          <a:lstStyle/>
          <a:p>
            <a:pPr marL="304503" indent="-224148" defTabSz="304503" eaLnBrk="0" hangingPunct="0">
              <a:spcAft>
                <a:spcPts val="800"/>
              </a:spcAft>
              <a:buClr>
                <a:srgbClr val="FF0000"/>
              </a:buClr>
              <a:buSzPct val="85000"/>
              <a:buFont typeface="Wingdings" pitchFamily="2" charset="2"/>
              <a:buChar char="§"/>
            </a:pPr>
            <a:endParaRPr lang="en-US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1" name="Rectangle 200"/>
          <p:cNvSpPr/>
          <p:nvPr/>
        </p:nvSpPr>
        <p:spPr>
          <a:xfrm>
            <a:off x="697865" y="1688169"/>
            <a:ext cx="1522849" cy="140637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03" tIns="60901" rIns="121803" bIns="60901" rtlCol="0" anchor="ctr"/>
          <a:lstStyle/>
          <a:p>
            <a:pPr algn="ctr"/>
            <a:r>
              <a:rPr lang="en-US" sz="1400" dirty="0"/>
              <a:t>Rows Stored Contiguously </a:t>
            </a:r>
          </a:p>
        </p:txBody>
      </p:sp>
      <p:sp>
        <p:nvSpPr>
          <p:cNvPr id="205" name="Content Placeholder 2"/>
          <p:cNvSpPr txBox="1">
            <a:spLocks/>
          </p:cNvSpPr>
          <p:nvPr/>
        </p:nvSpPr>
        <p:spPr bwMode="auto">
          <a:xfrm>
            <a:off x="4481204" y="1752974"/>
            <a:ext cx="7168028" cy="1176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28600" indent="-168275" algn="l" defTabSz="228600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31825" indent="-228600" algn="l" defTabSz="228600" rtl="0" eaLnBrk="0" fontAlgn="base" hangingPunct="0">
              <a:spcBef>
                <a:spcPct val="0"/>
              </a:spcBef>
              <a:spcAft>
                <a:spcPts val="600"/>
              </a:spcAft>
              <a:buSzPct val="85000"/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74725" indent="-174625" algn="l" defTabSz="228600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8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31925" indent="-228600" algn="l" defTabSz="228600" rtl="0" eaLnBrk="0" fontAlgn="base" hangingPunct="0">
              <a:spcBef>
                <a:spcPct val="0"/>
              </a:spcBef>
              <a:spcAft>
                <a:spcPts val="600"/>
              </a:spcAft>
              <a:buSzPct val="85000"/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-168275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»"/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697" dirty="0">
                <a:latin typeface="Oracle Sans Light" panose="020B0403020204020204" pitchFamily="34" charset="0"/>
                <a:cs typeface="Oracle Sans Light" panose="020B0403020204020204" pitchFamily="34" charset="0"/>
              </a:rPr>
              <a:t>Transactions run faster on row format</a:t>
            </a:r>
          </a:p>
          <a:p>
            <a:pPr lvl="1">
              <a:spcAft>
                <a:spcPts val="0"/>
              </a:spcAft>
            </a:pPr>
            <a:r>
              <a:rPr lang="en-US" sz="2397" dirty="0">
                <a:latin typeface="Oracle Sans Light" panose="020B0403020204020204" pitchFamily="34" charset="0"/>
                <a:cs typeface="Oracle Sans Light" panose="020B0403020204020204" pitchFamily="34" charset="0"/>
              </a:rPr>
              <a:t>Example: Query or Insert a sales order</a:t>
            </a:r>
          </a:p>
          <a:p>
            <a:pPr lvl="1">
              <a:spcAft>
                <a:spcPts val="0"/>
              </a:spcAft>
            </a:pPr>
            <a:r>
              <a:rPr lang="en-US" sz="2397" dirty="0">
                <a:latin typeface="Oracle Sans Light" panose="020B0403020204020204" pitchFamily="34" charset="0"/>
                <a:cs typeface="Oracle Sans Light" panose="020B0403020204020204" pitchFamily="34" charset="0"/>
              </a:rPr>
              <a:t>Fast processing few rows, many columns</a:t>
            </a:r>
          </a:p>
        </p:txBody>
      </p:sp>
      <p:sp>
        <p:nvSpPr>
          <p:cNvPr id="206" name="Rectangle 205"/>
          <p:cNvSpPr/>
          <p:nvPr/>
        </p:nvSpPr>
        <p:spPr>
          <a:xfrm>
            <a:off x="697868" y="3650989"/>
            <a:ext cx="10759116" cy="1364236"/>
          </a:xfrm>
          <a:prstGeom prst="rect">
            <a:avLst/>
          </a:prstGeom>
          <a:gradFill flip="none" rotWithShape="1">
            <a:gsLst>
              <a:gs pos="0">
                <a:srgbClr val="DEDEDE"/>
              </a:gs>
              <a:gs pos="100000">
                <a:srgbClr val="F3F3F3"/>
              </a:gs>
            </a:gsLst>
            <a:lin ang="16200000" scaled="0"/>
            <a:tileRect/>
          </a:gradFill>
          <a:ln>
            <a:noFill/>
          </a:ln>
          <a:effectLst>
            <a:outerShdw blurRad="152400" dist="63500" dir="78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03" tIns="243608" rIns="121803" bIns="60901" anchor="t"/>
          <a:lstStyle/>
          <a:p>
            <a:pPr marL="304503" indent="-224148" defTabSz="304503" eaLnBrk="0" hangingPunct="0">
              <a:spcAft>
                <a:spcPts val="800"/>
              </a:spcAft>
              <a:buClr>
                <a:srgbClr val="FF0000"/>
              </a:buClr>
              <a:buSzPct val="85000"/>
              <a:buFont typeface="Wingdings" pitchFamily="2" charset="2"/>
              <a:buChar char="§"/>
            </a:pPr>
            <a:endParaRPr lang="en-US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7" name="Rectangle 206"/>
          <p:cNvSpPr/>
          <p:nvPr/>
        </p:nvSpPr>
        <p:spPr>
          <a:xfrm>
            <a:off x="697865" y="3629578"/>
            <a:ext cx="1522849" cy="140637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03" tIns="60901" rIns="121803" bIns="60901" rtlCol="0" anchor="ctr"/>
          <a:lstStyle/>
          <a:p>
            <a:pPr algn="ctr"/>
            <a:r>
              <a:rPr lang="en-US" sz="1400" dirty="0"/>
              <a:t>Columns Stored Contiguously</a:t>
            </a:r>
          </a:p>
        </p:txBody>
      </p:sp>
      <p:sp>
        <p:nvSpPr>
          <p:cNvPr id="208" name="Content Placeholder 2"/>
          <p:cNvSpPr txBox="1">
            <a:spLocks/>
          </p:cNvSpPr>
          <p:nvPr/>
        </p:nvSpPr>
        <p:spPr bwMode="auto">
          <a:xfrm>
            <a:off x="4481204" y="3659744"/>
            <a:ext cx="7168028" cy="1176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28600" indent="-168275" algn="l" defTabSz="228600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31825" indent="-228600" algn="l" defTabSz="228600" rtl="0" eaLnBrk="0" fontAlgn="base" hangingPunct="0">
              <a:spcBef>
                <a:spcPct val="0"/>
              </a:spcBef>
              <a:spcAft>
                <a:spcPts val="600"/>
              </a:spcAft>
              <a:buSzPct val="85000"/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74725" indent="-174625" algn="l" defTabSz="228600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8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31925" indent="-228600" algn="l" defTabSz="228600" rtl="0" eaLnBrk="0" fontAlgn="base" hangingPunct="0">
              <a:spcBef>
                <a:spcPct val="0"/>
              </a:spcBef>
              <a:spcAft>
                <a:spcPts val="600"/>
              </a:spcAft>
              <a:buSzPct val="85000"/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-168275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»"/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697" dirty="0">
                <a:latin typeface="Oracle Sans Light" panose="020B0403020204020204" pitchFamily="34" charset="0"/>
                <a:cs typeface="Oracle Sans Light" panose="020B0403020204020204" pitchFamily="34" charset="0"/>
              </a:rPr>
              <a:t>Analytics run faster on column format</a:t>
            </a:r>
          </a:p>
          <a:p>
            <a:pPr lvl="1">
              <a:spcAft>
                <a:spcPts val="0"/>
              </a:spcAft>
            </a:pPr>
            <a:r>
              <a:rPr lang="en-US" sz="2397" dirty="0">
                <a:latin typeface="Oracle Sans Light" panose="020B0403020204020204" pitchFamily="34" charset="0"/>
                <a:cs typeface="Oracle Sans Light" panose="020B0403020204020204" pitchFamily="34" charset="0"/>
              </a:rPr>
              <a:t>Example : Report on sales totals by region</a:t>
            </a:r>
          </a:p>
          <a:p>
            <a:pPr lvl="1"/>
            <a:r>
              <a:rPr lang="en-US" sz="2397" dirty="0">
                <a:latin typeface="Oracle Sans Light" panose="020B0403020204020204" pitchFamily="34" charset="0"/>
                <a:cs typeface="Oracle Sans Light" panose="020B0403020204020204" pitchFamily="34" charset="0"/>
              </a:rPr>
              <a:t>Fast accessing few columns, many row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060791" y="3692151"/>
            <a:ext cx="774370" cy="38225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/>
              <a:t>SALES</a:t>
            </a:r>
            <a:endParaRPr lang="en-US" sz="1899" dirty="0"/>
          </a:p>
        </p:txBody>
      </p:sp>
      <p:sp>
        <p:nvSpPr>
          <p:cNvPr id="16" name="TextBox 15"/>
          <p:cNvSpPr txBox="1"/>
          <p:nvPr/>
        </p:nvSpPr>
        <p:spPr>
          <a:xfrm>
            <a:off x="707387" y="5561292"/>
            <a:ext cx="10759116" cy="56558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none" lIns="121799" tIns="60899" rIns="121799" bIns="60899" rtlCol="0">
            <a:noAutofit/>
          </a:bodyPr>
          <a:lstStyle/>
          <a:p>
            <a:pPr algn="ctr"/>
            <a:r>
              <a:rPr lang="en-US" sz="2697" dirty="0">
                <a:solidFill>
                  <a:schemeClr val="bg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rPr>
              <a:t>Until Now Must Choose One Format and Suffer Tradeoff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763551" y="2101745"/>
            <a:ext cx="679573" cy="322991"/>
          </a:xfrm>
          <a:prstGeom prst="rect">
            <a:avLst/>
          </a:prstGeom>
          <a:noFill/>
        </p:spPr>
        <p:txBody>
          <a:bodyPr wrap="square" lIns="0" tIns="60899" rIns="0" bIns="60899" rtlCol="0">
            <a:spAutoFit/>
          </a:bodyPr>
          <a:lstStyle/>
          <a:p>
            <a:pPr algn="ctr"/>
            <a:r>
              <a:rPr lang="en-US" sz="1300" b="1" dirty="0">
                <a:solidFill>
                  <a:schemeClr val="bg1"/>
                </a:solidFill>
              </a:rPr>
              <a:t>Query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75704D2-F2E0-1245-A291-EE3E6946B760}"/>
              </a:ext>
            </a:extLst>
          </p:cNvPr>
          <p:cNvGrpSpPr/>
          <p:nvPr/>
        </p:nvGrpSpPr>
        <p:grpSpPr>
          <a:xfrm>
            <a:off x="2711648" y="1696550"/>
            <a:ext cx="1533508" cy="1477328"/>
            <a:chOff x="2710766" y="1696098"/>
            <a:chExt cx="1533907" cy="1477713"/>
          </a:xfrm>
        </p:grpSpPr>
        <p:sp>
          <p:nvSpPr>
            <p:cNvPr id="126" name="TextBox 125"/>
            <p:cNvSpPr txBox="1"/>
            <p:nvPr/>
          </p:nvSpPr>
          <p:spPr>
            <a:xfrm>
              <a:off x="3060000" y="1696098"/>
              <a:ext cx="774572" cy="3823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600" dirty="0"/>
                <a:t>SALES</a:t>
              </a:r>
              <a:endParaRPr lang="en-US" sz="1899" dirty="0"/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2710766" y="1877849"/>
              <a:ext cx="1533907" cy="1295962"/>
              <a:chOff x="2707411" y="2920181"/>
              <a:chExt cx="1534705" cy="1296637"/>
            </a:xfrm>
          </p:grpSpPr>
          <p:pic>
            <p:nvPicPr>
              <p:cNvPr id="38" name="1-column-6-rows.png"/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707411" y="2920197"/>
                <a:ext cx="457557" cy="1295401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39" name="1-column-6-rows.png"/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420507" y="2920197"/>
                <a:ext cx="457557" cy="1295401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37" name="1-column-6-rows.png"/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068360" y="2920181"/>
                <a:ext cx="457558" cy="1295401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42" name="1-column-6-rows.png"/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784559" y="2921417"/>
                <a:ext cx="457557" cy="1295401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</p:grpSp>
      <p:sp>
        <p:nvSpPr>
          <p:cNvPr id="28" name="Pentagon 27"/>
          <p:cNvSpPr/>
          <p:nvPr/>
        </p:nvSpPr>
        <p:spPr>
          <a:xfrm>
            <a:off x="2616699" y="2203142"/>
            <a:ext cx="1052140" cy="168660"/>
          </a:xfrm>
          <a:prstGeom prst="homePlate">
            <a:avLst/>
          </a:prstGeom>
          <a:solidFill>
            <a:schemeClr val="accent1">
              <a:alpha val="74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/>
          </a:p>
        </p:txBody>
      </p:sp>
      <p:sp>
        <p:nvSpPr>
          <p:cNvPr id="41" name="Shape 1019"/>
          <p:cNvSpPr/>
          <p:nvPr/>
        </p:nvSpPr>
        <p:spPr>
          <a:xfrm>
            <a:off x="2731872" y="2196610"/>
            <a:ext cx="485775" cy="1990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anchor="t">
            <a:spAutoFit/>
          </a:bodyPr>
          <a:lstStyle>
            <a:lvl1pPr algn="ctr">
              <a:lnSpc>
                <a:spcPct val="90000"/>
              </a:lnSpc>
              <a:defRPr>
                <a:solidFill>
                  <a:srgbClr val="FFFFFF"/>
                </a:solidFill>
              </a:defRPr>
            </a:lvl1pPr>
          </a:lstStyle>
          <a:p>
            <a:pPr defTabSz="913288"/>
            <a:r>
              <a:rPr lang="en-US" sz="1400" dirty="0">
                <a:latin typeface="Oracle Sans Light" panose="020B0403020204020204" pitchFamily="34" charset="0"/>
                <a:cs typeface="Oracle Sans Light" panose="020B0403020204020204" pitchFamily="34" charset="0"/>
              </a:rPr>
              <a:t>Query</a:t>
            </a:r>
            <a:endParaRPr sz="1400" dirty="0">
              <a:latin typeface="Oracle Sans Light" panose="020B0403020204020204" pitchFamily="34" charset="0"/>
              <a:cs typeface="Oracle Sans Light" panose="020B040302020402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2635998" y="3886159"/>
            <a:ext cx="1698573" cy="1130838"/>
            <a:chOff x="2555005" y="3886513"/>
            <a:chExt cx="1776595" cy="1301320"/>
          </a:xfrm>
        </p:grpSpPr>
        <p:grpSp>
          <p:nvGrpSpPr>
            <p:cNvPr id="5" name="Group 4"/>
            <p:cNvGrpSpPr/>
            <p:nvPr/>
          </p:nvGrpSpPr>
          <p:grpSpPr>
            <a:xfrm>
              <a:off x="2555005" y="3886513"/>
              <a:ext cx="1776595" cy="1296637"/>
              <a:chOff x="2555005" y="3886513"/>
              <a:chExt cx="1776595" cy="1296637"/>
            </a:xfrm>
          </p:grpSpPr>
          <p:pic>
            <p:nvPicPr>
              <p:cNvPr id="30" name="1-column-6-rows.png"/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555005" y="3886529"/>
                <a:ext cx="457558" cy="1295401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31" name="1-column-6-rows.png"/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434363" y="3886529"/>
                <a:ext cx="457558" cy="1295401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34" name="1-column-6-rows.png"/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994684" y="3886513"/>
                <a:ext cx="457558" cy="1295401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43" name="1-column-6-rows.png"/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874042" y="3887749"/>
                <a:ext cx="457558" cy="1295401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  <p:sp>
          <p:nvSpPr>
            <p:cNvPr id="44" name="Pentagon 43"/>
            <p:cNvSpPr/>
            <p:nvPr/>
          </p:nvSpPr>
          <p:spPr>
            <a:xfrm rot="5400000">
              <a:off x="3142740" y="4576956"/>
              <a:ext cx="1052963" cy="168792"/>
            </a:xfrm>
            <a:prstGeom prst="homePlate">
              <a:avLst/>
            </a:prstGeom>
            <a:solidFill>
              <a:schemeClr val="accent1">
                <a:alpha val="74000"/>
              </a:scheme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/>
            </a:p>
          </p:txBody>
        </p:sp>
        <p:sp>
          <p:nvSpPr>
            <p:cNvPr id="33" name="Shape 1019"/>
            <p:cNvSpPr/>
            <p:nvPr/>
          </p:nvSpPr>
          <p:spPr>
            <a:xfrm rot="5400000">
              <a:off x="3385967" y="4482209"/>
              <a:ext cx="559009" cy="20818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0" tIns="0" rIns="0" bIns="0" numCol="1" anchor="t">
              <a:spAutoFit/>
            </a:bodyPr>
            <a:lstStyle>
              <a:lvl1pPr algn="ctr">
                <a:lnSpc>
                  <a:spcPct val="90000"/>
                </a:lnSpc>
                <a:defRPr>
                  <a:solidFill>
                    <a:srgbClr val="FFFFFF"/>
                  </a:solidFill>
                </a:defRPr>
              </a:lvl1pPr>
            </a:lstStyle>
            <a:p>
              <a:pPr defTabSz="913288"/>
              <a:r>
                <a:rPr lang="en-US" sz="1400" dirty="0">
                  <a:latin typeface="Oracle Sans Light" panose="020B0403020204020204" pitchFamily="34" charset="0"/>
                  <a:cs typeface="Oracle Sans Light" panose="020B0403020204020204" pitchFamily="34" charset="0"/>
                </a:rPr>
                <a:t>Query</a:t>
              </a:r>
              <a:endParaRPr sz="1400" dirty="0">
                <a:latin typeface="Oracle Sans Light" panose="020B0403020204020204" pitchFamily="34" charset="0"/>
                <a:cs typeface="Oracle Sans Light" panose="020B04030202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8133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29603" y="1716706"/>
            <a:ext cx="4645781" cy="4655193"/>
          </a:xfrm>
        </p:spPr>
        <p:txBody>
          <a:bodyPr/>
          <a:lstStyle/>
          <a:p>
            <a:pPr marL="403104" indent="-403104">
              <a:spcBef>
                <a:spcPts val="2398"/>
              </a:spcBef>
              <a:buClr>
                <a:schemeClr val="tx1"/>
              </a:buClr>
              <a:buFont typeface="Arial"/>
              <a:buChar char="•"/>
            </a:pPr>
            <a:r>
              <a:rPr lang="en-US" sz="2698">
                <a:solidFill>
                  <a:schemeClr val="accent1"/>
                </a:solidFill>
              </a:rPr>
              <a:t>BOTH </a:t>
            </a:r>
            <a:r>
              <a:rPr lang="en-US" sz="2698"/>
              <a:t>row and column formats for same table</a:t>
            </a:r>
          </a:p>
          <a:p>
            <a:pPr marL="380724" indent="-380724">
              <a:spcBef>
                <a:spcPts val="2398"/>
              </a:spcBef>
              <a:buFont typeface="Arial"/>
              <a:buChar char="•"/>
            </a:pPr>
            <a:r>
              <a:rPr lang="en-US" sz="2698"/>
              <a:t>Simultaneously active and </a:t>
            </a:r>
            <a:r>
              <a:rPr lang="en-US" sz="2698" err="1"/>
              <a:t>transactionally</a:t>
            </a:r>
            <a:r>
              <a:rPr lang="en-US" sz="2698"/>
              <a:t> consistent</a:t>
            </a:r>
          </a:p>
          <a:p>
            <a:pPr marL="380724" indent="-380724">
              <a:spcBef>
                <a:spcPts val="2398"/>
              </a:spcBef>
              <a:buFont typeface="Arial"/>
              <a:buChar char="•"/>
            </a:pPr>
            <a:r>
              <a:rPr lang="en-US" sz="2698"/>
              <a:t>Analytics &amp; reporting use new in-memory Column format</a:t>
            </a:r>
          </a:p>
          <a:p>
            <a:pPr marL="380724" indent="-380724">
              <a:spcBef>
                <a:spcPts val="2398"/>
              </a:spcBef>
              <a:buFont typeface="Arial"/>
              <a:buChar char="•"/>
            </a:pPr>
            <a:r>
              <a:rPr lang="en-US" sz="2698"/>
              <a:t>OLTP uses proven row forma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6301" y="407976"/>
            <a:ext cx="11119405" cy="761144"/>
          </a:xfrm>
        </p:spPr>
        <p:txBody>
          <a:bodyPr>
            <a:normAutofit/>
          </a:bodyPr>
          <a:lstStyle/>
          <a:p>
            <a:r>
              <a:rPr lang="en-US" sz="3599">
                <a:solidFill>
                  <a:srgbClr val="FF0000"/>
                </a:solidFill>
              </a:rPr>
              <a:t>Breakthrough: </a:t>
            </a:r>
            <a:r>
              <a:rPr lang="en-US" sz="3599"/>
              <a:t>Dual Format Database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800392" y="95068"/>
            <a:ext cx="1218248" cy="121856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400"/>
          </a:p>
        </p:txBody>
      </p:sp>
      <p:cxnSp>
        <p:nvCxnSpPr>
          <p:cNvPr id="35" name="Straight Connector 34"/>
          <p:cNvCxnSpPr/>
          <p:nvPr/>
        </p:nvCxnSpPr>
        <p:spPr>
          <a:xfrm>
            <a:off x="4624226" y="3624524"/>
            <a:ext cx="0" cy="1188561"/>
          </a:xfrm>
          <a:prstGeom prst="line">
            <a:avLst/>
          </a:prstGeom>
          <a:ln w="28575" cmpd="sng">
            <a:solidFill>
              <a:srgbClr val="F8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ounded Rectangle 36"/>
          <p:cNvSpPr/>
          <p:nvPr/>
        </p:nvSpPr>
        <p:spPr>
          <a:xfrm>
            <a:off x="3682290" y="1545157"/>
            <a:ext cx="1804968" cy="2811519"/>
          </a:xfrm>
          <a:prstGeom prst="roundRect">
            <a:avLst>
              <a:gd name="adj" fmla="val 8788"/>
            </a:avLst>
          </a:prstGeom>
          <a:solidFill>
            <a:srgbClr val="EAEAEA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/>
          </a:p>
        </p:txBody>
      </p:sp>
      <p:sp>
        <p:nvSpPr>
          <p:cNvPr id="36" name="Rounded Rectangle 35"/>
          <p:cNvSpPr/>
          <p:nvPr/>
        </p:nvSpPr>
        <p:spPr>
          <a:xfrm>
            <a:off x="1681977" y="1545157"/>
            <a:ext cx="1804968" cy="2811519"/>
          </a:xfrm>
          <a:prstGeom prst="roundRect">
            <a:avLst>
              <a:gd name="adj" fmla="val 8788"/>
            </a:avLst>
          </a:prstGeom>
          <a:solidFill>
            <a:srgbClr val="EAEAEA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/>
          </a:p>
        </p:txBody>
      </p:sp>
      <p:cxnSp>
        <p:nvCxnSpPr>
          <p:cNvPr id="40" name="Straight Connector 39"/>
          <p:cNvCxnSpPr/>
          <p:nvPr/>
        </p:nvCxnSpPr>
        <p:spPr>
          <a:xfrm flipH="1">
            <a:off x="3569325" y="4965217"/>
            <a:ext cx="4754" cy="437393"/>
          </a:xfrm>
          <a:prstGeom prst="line">
            <a:avLst/>
          </a:prstGeom>
          <a:ln w="28575" cmpd="sng">
            <a:solidFill>
              <a:srgbClr val="F8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4648" y="4520131"/>
            <a:ext cx="1076491" cy="538387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095973" y="1545157"/>
            <a:ext cx="979066" cy="28525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br>
              <a:rPr lang="en-US" sz="1899"/>
            </a:br>
            <a:r>
              <a:rPr lang="en-US" sz="1899"/>
              <a:t>Buffer Cach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095241" y="1545157"/>
            <a:ext cx="979066" cy="28525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899"/>
              <a:t>New In-Memory</a:t>
            </a:r>
            <a:br>
              <a:rPr lang="en-US" sz="1899"/>
            </a:br>
            <a:r>
              <a:rPr lang="en-US" sz="1899"/>
              <a:t>Column Stor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095973" y="3286636"/>
            <a:ext cx="979066" cy="28525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899"/>
              <a:t>SALE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101632" y="3330718"/>
            <a:ext cx="979066" cy="28525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899"/>
              <a:t>SA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095973" y="3700590"/>
            <a:ext cx="979066" cy="65608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899"/>
              <a:t>Row</a:t>
            </a:r>
          </a:p>
          <a:p>
            <a:pPr algn="ctr">
              <a:lnSpc>
                <a:spcPct val="90000"/>
              </a:lnSpc>
            </a:pPr>
            <a:r>
              <a:rPr lang="en-US" sz="1899"/>
              <a:t>Forma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101632" y="3700590"/>
            <a:ext cx="979066" cy="65608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899"/>
              <a:t>Column</a:t>
            </a:r>
          </a:p>
          <a:p>
            <a:pPr algn="ctr">
              <a:lnSpc>
                <a:spcPct val="90000"/>
              </a:lnSpc>
            </a:pPr>
            <a:r>
              <a:rPr lang="en-US" sz="1899"/>
              <a:t>Format</a:t>
            </a:r>
          </a:p>
        </p:txBody>
      </p:sp>
      <p:cxnSp>
        <p:nvCxnSpPr>
          <p:cNvPr id="23" name="Straight Connector 22"/>
          <p:cNvCxnSpPr/>
          <p:nvPr/>
        </p:nvCxnSpPr>
        <p:spPr>
          <a:xfrm>
            <a:off x="2003707" y="3624522"/>
            <a:ext cx="1242430" cy="0"/>
          </a:xfrm>
          <a:prstGeom prst="line">
            <a:avLst/>
          </a:prstGeom>
          <a:ln w="19050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2003707" y="2103166"/>
            <a:ext cx="1242430" cy="0"/>
          </a:xfrm>
          <a:prstGeom prst="line">
            <a:avLst/>
          </a:prstGeom>
          <a:ln w="19050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3998960" y="2103166"/>
            <a:ext cx="1242430" cy="0"/>
          </a:xfrm>
          <a:prstGeom prst="line">
            <a:avLst/>
          </a:prstGeom>
          <a:ln w="19050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3998259" y="3624522"/>
            <a:ext cx="1242430" cy="0"/>
          </a:xfrm>
          <a:prstGeom prst="line">
            <a:avLst/>
          </a:prstGeom>
          <a:ln w="19050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2561742" y="4794066"/>
            <a:ext cx="453890" cy="0"/>
          </a:xfrm>
          <a:prstGeom prst="line">
            <a:avLst/>
          </a:prstGeom>
          <a:ln w="28575" cmpd="sng">
            <a:solidFill>
              <a:srgbClr val="F8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120642" y="4794066"/>
            <a:ext cx="508338" cy="0"/>
          </a:xfrm>
          <a:prstGeom prst="line">
            <a:avLst/>
          </a:prstGeom>
          <a:ln w="28575" cmpd="sng">
            <a:solidFill>
              <a:srgbClr val="F8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>
            <a:stCxn id="20" idx="2"/>
          </p:cNvCxnSpPr>
          <p:nvPr/>
        </p:nvCxnSpPr>
        <p:spPr>
          <a:xfrm flipH="1">
            <a:off x="2580754" y="4356675"/>
            <a:ext cx="4754" cy="437393"/>
          </a:xfrm>
          <a:prstGeom prst="line">
            <a:avLst/>
          </a:prstGeom>
          <a:ln w="28575" cmpd="sng">
            <a:solidFill>
              <a:srgbClr val="F8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>
            <a:off x="1215558" y="2664281"/>
            <a:ext cx="390497" cy="0"/>
          </a:xfrm>
          <a:prstGeom prst="straightConnector1">
            <a:avLst/>
          </a:prstGeom>
          <a:ln w="38100" cmpd="sng">
            <a:solidFill>
              <a:srgbClr val="F80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>
            <a:off x="5511408" y="2749740"/>
            <a:ext cx="390497" cy="0"/>
          </a:xfrm>
          <a:prstGeom prst="straightConnector1">
            <a:avLst/>
          </a:prstGeom>
          <a:ln w="38100" cmpd="sng">
            <a:solidFill>
              <a:srgbClr val="F80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creditcard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8540" y="2448940"/>
            <a:ext cx="874505" cy="582587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6761" y="2159269"/>
            <a:ext cx="1394827" cy="907420"/>
          </a:xfrm>
          <a:prstGeom prst="rect">
            <a:avLst/>
          </a:prstGeom>
        </p:spPr>
      </p:pic>
      <p:grpSp>
        <p:nvGrpSpPr>
          <p:cNvPr id="41" name="Group 40"/>
          <p:cNvGrpSpPr/>
          <p:nvPr/>
        </p:nvGrpSpPr>
        <p:grpSpPr>
          <a:xfrm>
            <a:off x="1729916" y="2168381"/>
            <a:ext cx="1734776" cy="1243419"/>
            <a:chOff x="2707411" y="2920181"/>
            <a:chExt cx="1534705" cy="1296637"/>
          </a:xfrm>
        </p:grpSpPr>
        <p:pic>
          <p:nvPicPr>
            <p:cNvPr id="46" name="1-column-6-rows.png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07411" y="2920197"/>
              <a:ext cx="457557" cy="129540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8" name="1-column-6-rows.png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20507" y="2920197"/>
              <a:ext cx="457557" cy="129540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9" name="1-column-6-rows.png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68360" y="2920181"/>
              <a:ext cx="457558" cy="129540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50" name="1-column-6-rows.png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84559" y="2921417"/>
              <a:ext cx="457557" cy="129540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57" name="Group 56"/>
          <p:cNvGrpSpPr/>
          <p:nvPr/>
        </p:nvGrpSpPr>
        <p:grpSpPr>
          <a:xfrm>
            <a:off x="3720869" y="2173188"/>
            <a:ext cx="1714281" cy="1220211"/>
            <a:chOff x="2555005" y="3886513"/>
            <a:chExt cx="1776595" cy="1296637"/>
          </a:xfrm>
        </p:grpSpPr>
        <p:grpSp>
          <p:nvGrpSpPr>
            <p:cNvPr id="58" name="Group 57"/>
            <p:cNvGrpSpPr/>
            <p:nvPr/>
          </p:nvGrpSpPr>
          <p:grpSpPr>
            <a:xfrm>
              <a:off x="2555005" y="3886513"/>
              <a:ext cx="1776595" cy="1296637"/>
              <a:chOff x="2555005" y="3886513"/>
              <a:chExt cx="1776595" cy="1296637"/>
            </a:xfrm>
          </p:grpSpPr>
          <p:pic>
            <p:nvPicPr>
              <p:cNvPr id="61" name="1-column-6-rows.png"/>
              <p:cNvPicPr>
                <a:picLocks noChangeAspect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555005" y="3886529"/>
                <a:ext cx="457558" cy="1295401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62" name="1-column-6-rows.png"/>
              <p:cNvPicPr>
                <a:picLocks noChangeAspect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434363" y="3886529"/>
                <a:ext cx="457558" cy="1295401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63" name="1-column-6-rows.png"/>
              <p:cNvPicPr>
                <a:picLocks noChangeAspect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994684" y="3886513"/>
                <a:ext cx="457558" cy="1295401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64" name="1-column-6-rows.png"/>
              <p:cNvPicPr>
                <a:picLocks noChangeAspect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874042" y="3887749"/>
                <a:ext cx="457558" cy="1295401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  <p:sp>
          <p:nvSpPr>
            <p:cNvPr id="59" name="Pentagon 58"/>
            <p:cNvSpPr/>
            <p:nvPr/>
          </p:nvSpPr>
          <p:spPr>
            <a:xfrm rot="5400000">
              <a:off x="3189544" y="4575013"/>
              <a:ext cx="943837" cy="184310"/>
            </a:xfrm>
            <a:prstGeom prst="homePlate">
              <a:avLst/>
            </a:prstGeom>
            <a:solidFill>
              <a:schemeClr val="accent1">
                <a:alpha val="74000"/>
              </a:scheme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/>
            </a:p>
          </p:txBody>
        </p:sp>
      </p:grpSp>
      <p:sp>
        <p:nvSpPr>
          <p:cNvPr id="65" name="Pentagon 64"/>
          <p:cNvSpPr/>
          <p:nvPr/>
        </p:nvSpPr>
        <p:spPr>
          <a:xfrm>
            <a:off x="1728775" y="2451314"/>
            <a:ext cx="888207" cy="177846"/>
          </a:xfrm>
          <a:prstGeom prst="homePlate">
            <a:avLst/>
          </a:prstGeom>
          <a:solidFill>
            <a:schemeClr val="accent1">
              <a:alpha val="74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535A82A-C286-2E48-A57F-43C536A0AB9F}"/>
              </a:ext>
            </a:extLst>
          </p:cNvPr>
          <p:cNvGrpSpPr/>
          <p:nvPr/>
        </p:nvGrpSpPr>
        <p:grpSpPr>
          <a:xfrm>
            <a:off x="2827365" y="5281702"/>
            <a:ext cx="1415935" cy="1141687"/>
            <a:chOff x="2808224" y="5428488"/>
            <a:chExt cx="1416304" cy="1141984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7A0002E-C3CD-9448-BA28-719207802EF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08224" y="5428488"/>
              <a:ext cx="1416304" cy="1141984"/>
            </a:xfrm>
            <a:prstGeom prst="rect">
              <a:avLst/>
            </a:prstGeom>
          </p:spPr>
        </p:pic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A0CCECE4-BBB9-484F-8DF2-A238A183ACC4}"/>
                </a:ext>
              </a:extLst>
            </p:cNvPr>
            <p:cNvGrpSpPr/>
            <p:nvPr/>
          </p:nvGrpSpPr>
          <p:grpSpPr>
            <a:xfrm>
              <a:off x="3090672" y="5573155"/>
              <a:ext cx="879681" cy="882510"/>
              <a:chOff x="2710766" y="1696098"/>
              <a:chExt cx="1533907" cy="1477713"/>
            </a:xfrm>
          </p:grpSpPr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1BFC377B-FD59-794C-88B9-5522011CFD9A}"/>
                  </a:ext>
                </a:extLst>
              </p:cNvPr>
              <p:cNvSpPr txBox="1"/>
              <p:nvPr/>
            </p:nvSpPr>
            <p:spPr>
              <a:xfrm>
                <a:off x="3060000" y="1696098"/>
                <a:ext cx="774572" cy="38235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1000" dirty="0">
                    <a:solidFill>
                      <a:schemeClr val="bg1"/>
                    </a:solidFill>
                  </a:rPr>
                  <a:t>SALES</a:t>
                </a:r>
              </a:p>
            </p:txBody>
          </p:sp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6349AC72-6143-C44A-BA33-15A7D3C9E736}"/>
                  </a:ext>
                </a:extLst>
              </p:cNvPr>
              <p:cNvGrpSpPr/>
              <p:nvPr/>
            </p:nvGrpSpPr>
            <p:grpSpPr>
              <a:xfrm>
                <a:off x="2710766" y="1877849"/>
                <a:ext cx="1533907" cy="1295962"/>
                <a:chOff x="2707411" y="2920181"/>
                <a:chExt cx="1534705" cy="1296637"/>
              </a:xfrm>
            </p:grpSpPr>
            <p:pic>
              <p:nvPicPr>
                <p:cNvPr id="69" name="1-column-6-rows.png">
                  <a:extLst>
                    <a:ext uri="{FF2B5EF4-FFF2-40B4-BE49-F238E27FC236}">
                      <a16:creationId xmlns:a16="http://schemas.microsoft.com/office/drawing/2014/main" id="{9741A9F5-8411-804D-A70F-D6EA516A9E0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07411" y="2920197"/>
                  <a:ext cx="457557" cy="1295401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  <p:pic>
              <p:nvPicPr>
                <p:cNvPr id="70" name="1-column-6-rows.png">
                  <a:extLst>
                    <a:ext uri="{FF2B5EF4-FFF2-40B4-BE49-F238E27FC236}">
                      <a16:creationId xmlns:a16="http://schemas.microsoft.com/office/drawing/2014/main" id="{B2E9482C-9B08-B349-8073-72315B858B6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420507" y="2920197"/>
                  <a:ext cx="457557" cy="1295401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  <p:pic>
              <p:nvPicPr>
                <p:cNvPr id="71" name="1-column-6-rows.png">
                  <a:extLst>
                    <a:ext uri="{FF2B5EF4-FFF2-40B4-BE49-F238E27FC236}">
                      <a16:creationId xmlns:a16="http://schemas.microsoft.com/office/drawing/2014/main" id="{B836C951-9642-D141-88DB-B4807D05640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068360" y="2920181"/>
                  <a:ext cx="457558" cy="1295401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  <p:pic>
              <p:nvPicPr>
                <p:cNvPr id="72" name="1-column-6-rows.png">
                  <a:extLst>
                    <a:ext uri="{FF2B5EF4-FFF2-40B4-BE49-F238E27FC236}">
                      <a16:creationId xmlns:a16="http://schemas.microsoft.com/office/drawing/2014/main" id="{62358A28-277D-4E49-8DAA-F2E4BDB84D3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84559" y="2921417"/>
                  <a:ext cx="457557" cy="1295401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972885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4"/>
          <p:cNvSpPr txBox="1">
            <a:spLocks/>
          </p:cNvSpPr>
          <p:nvPr/>
        </p:nvSpPr>
        <p:spPr>
          <a:xfrm>
            <a:off x="816133" y="800488"/>
            <a:ext cx="11122302" cy="88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defTabSz="913980">
              <a:lnSpc>
                <a:spcPct val="80000"/>
              </a:lnSpc>
              <a:spcBef>
                <a:spcPct val="0"/>
              </a:spcBef>
              <a:defRPr/>
            </a:pPr>
            <a:r>
              <a:rPr lang="en-US" sz="3598" dirty="0">
                <a:latin typeface="Georgia" panose="02040502050405020303" pitchFamily="18" charset="0"/>
                <a:ea typeface="+mj-ea"/>
                <a:cs typeface="+mj-cs"/>
              </a:rPr>
              <a:t>In-Memory Area: </a:t>
            </a:r>
            <a:r>
              <a:rPr lang="en-US" sz="3598" dirty="0">
                <a:solidFill>
                  <a:schemeClr val="accent1"/>
                </a:solidFill>
                <a:latin typeface="Georgia" panose="02040502050405020303" pitchFamily="18" charset="0"/>
                <a:ea typeface="+mj-ea"/>
                <a:cs typeface="+mj-cs"/>
              </a:rPr>
              <a:t>Static Area within SGA</a:t>
            </a:r>
          </a:p>
        </p:txBody>
      </p:sp>
      <p:grpSp>
        <p:nvGrpSpPr>
          <p:cNvPr id="2" name="Group 18"/>
          <p:cNvGrpSpPr/>
          <p:nvPr/>
        </p:nvGrpSpPr>
        <p:grpSpPr>
          <a:xfrm>
            <a:off x="561176" y="1648754"/>
            <a:ext cx="5574502" cy="4417298"/>
            <a:chOff x="1650570" y="1905001"/>
            <a:chExt cx="8887685" cy="4076700"/>
          </a:xfrm>
        </p:grpSpPr>
        <p:sp>
          <p:nvSpPr>
            <p:cNvPr id="10" name="Rounded Rectangle 9"/>
            <p:cNvSpPr/>
            <p:nvPr/>
          </p:nvSpPr>
          <p:spPr>
            <a:xfrm>
              <a:off x="1650570" y="1905001"/>
              <a:ext cx="8887685" cy="4076700"/>
            </a:xfrm>
            <a:prstGeom prst="roundRect">
              <a:avLst/>
            </a:prstGeom>
            <a:noFill/>
            <a:ln>
              <a:solidFill>
                <a:schemeClr val="accent1">
                  <a:lumMod val="40000"/>
                  <a:lumOff val="6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2448" tIns="81223" rIns="162448" bIns="81223" rtlCol="0" anchor="ctr"/>
            <a:lstStyle/>
            <a:p>
              <a:pPr algn="ctr"/>
              <a:endParaRPr lang="en-US" sz="2398" dirty="0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136808" y="2045540"/>
              <a:ext cx="6729582" cy="492150"/>
            </a:xfrm>
            <a:prstGeom prst="rect">
              <a:avLst/>
            </a:prstGeom>
            <a:noFill/>
          </p:spPr>
          <p:txBody>
            <a:bodyPr wrap="square" lIns="162448" tIns="81223" rIns="162448" bIns="81223" rtlCol="0">
              <a:spAutoFit/>
            </a:bodyPr>
            <a:lstStyle/>
            <a:p>
              <a:r>
                <a:rPr lang="en-US" sz="2399" dirty="0">
                  <a:solidFill>
                    <a:srgbClr val="000000"/>
                  </a:solidFill>
                  <a:latin typeface="Oracle Sans" panose="020B0503020204020204" pitchFamily="34" charset="0"/>
                  <a:cs typeface="Oracle Sans" panose="020B0503020204020204" pitchFamily="34" charset="0"/>
                </a:rPr>
                <a:t>System Global Area SGA</a:t>
              </a: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2158438" y="2730501"/>
              <a:ext cx="2133044" cy="1060449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162448" tIns="81223" rIns="162448" bIns="81223" rtlCol="0" anchor="ctr"/>
            <a:lstStyle/>
            <a:p>
              <a:pPr algn="ctr"/>
              <a:r>
                <a:rPr lang="en-US" sz="2398" dirty="0"/>
                <a:t>Buffer Cache</a:t>
              </a: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4837430" y="2730501"/>
              <a:ext cx="2133044" cy="952500"/>
            </a:xfrm>
            <a:prstGeom prst="roundRect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162448" tIns="81223" rIns="162448" bIns="81223" rtlCol="0" anchor="ctr"/>
            <a:lstStyle/>
            <a:p>
              <a:pPr algn="ctr"/>
              <a:r>
                <a:rPr lang="en-US" sz="2398" dirty="0"/>
                <a:t>Shared Pool</a:t>
              </a: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7592622" y="2730501"/>
              <a:ext cx="2133044" cy="952500"/>
            </a:xfrm>
            <a:prstGeom prst="roundRect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162448" tIns="81223" rIns="162448" bIns="81223" rtlCol="0" anchor="ctr"/>
            <a:lstStyle/>
            <a:p>
              <a:pPr algn="ctr"/>
              <a:r>
                <a:rPr lang="en-US" sz="2398" dirty="0"/>
                <a:t>Log Buffer</a:t>
              </a: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2167801" y="4286306"/>
              <a:ext cx="2133044" cy="952500"/>
            </a:xfrm>
            <a:prstGeom prst="roundRect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162448" tIns="81223" rIns="162448" bIns="81223" rtlCol="0" anchor="ctr"/>
            <a:lstStyle/>
            <a:p>
              <a:pPr algn="ctr"/>
              <a:r>
                <a:rPr lang="en-US" sz="2398" dirty="0"/>
                <a:t>Large Pool</a:t>
              </a: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385946" y="3919993"/>
              <a:ext cx="2680405" cy="1798162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2448" tIns="81223" rIns="162448" bIns="81223" rtlCol="0" anchor="ctr"/>
            <a:lstStyle/>
            <a:p>
              <a:pPr algn="ctr"/>
              <a:r>
                <a:rPr lang="en-US" sz="2398" dirty="0"/>
                <a:t>In-Memory Area</a:t>
              </a: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4875531" y="4397070"/>
              <a:ext cx="2002347" cy="834887"/>
            </a:xfrm>
            <a:prstGeom prst="roundRect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162448" tIns="81223" rIns="162448" bIns="81223" rtlCol="0" anchor="ctr"/>
            <a:lstStyle/>
            <a:p>
              <a:pPr algn="ctr"/>
              <a:r>
                <a:rPr lang="en-US" sz="2398" dirty="0"/>
                <a:t>Other </a:t>
              </a:r>
            </a:p>
          </p:txBody>
        </p:sp>
      </p:grpSp>
      <p:sp>
        <p:nvSpPr>
          <p:cNvPr id="20" name="Text Placeholder 7"/>
          <p:cNvSpPr>
            <a:spLocks noGrp="1"/>
          </p:cNvSpPr>
          <p:nvPr>
            <p:ph type="body" sz="half" idx="4294967295"/>
          </p:nvPr>
        </p:nvSpPr>
        <p:spPr>
          <a:xfrm>
            <a:off x="6991119" y="1632420"/>
            <a:ext cx="4927903" cy="4512087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457063" indent="-457063"/>
            <a:r>
              <a:rPr lang="en-US" sz="2665" dirty="0"/>
              <a:t>Contains data in the new In-Memory Columnar Format  </a:t>
            </a:r>
          </a:p>
          <a:p>
            <a:pPr marL="457063" indent="-457063"/>
            <a:r>
              <a:rPr lang="en-US" sz="2665" dirty="0"/>
              <a:t>Controlled by INMEMORY_SIZE</a:t>
            </a:r>
            <a:br>
              <a:rPr lang="en-US" sz="2665" dirty="0"/>
            </a:br>
            <a:r>
              <a:rPr lang="en-US" sz="2665" dirty="0"/>
              <a:t>parameter</a:t>
            </a:r>
          </a:p>
          <a:p>
            <a:pPr marL="641158" lvl="1" indent="-171399">
              <a:buFont typeface="System Font Regular"/>
              <a:buChar char="-"/>
            </a:pPr>
            <a:r>
              <a:rPr lang="en-US" sz="2132" dirty="0"/>
              <a:t>Minimum size of 100MB </a:t>
            </a:r>
          </a:p>
          <a:p>
            <a:pPr marL="457063" indent="-457063"/>
            <a:r>
              <a:rPr lang="en-US" sz="2665"/>
              <a:t>Can be re-sized larger while database is running (12.2)</a:t>
            </a:r>
            <a:endParaRPr lang="en-US" sz="2665" dirty="0"/>
          </a:p>
          <a:p>
            <a:pPr marL="457063" indent="-457063"/>
            <a:r>
              <a:rPr lang="en-US" sz="2665" dirty="0"/>
              <a:t>SGA_TARGET must be large</a:t>
            </a:r>
            <a:br>
              <a:rPr lang="en-US" sz="2665" dirty="0"/>
            </a:br>
            <a:r>
              <a:rPr lang="en-US" sz="2665" dirty="0"/>
              <a:t>enough to accommodate In-Memory area</a:t>
            </a:r>
          </a:p>
        </p:txBody>
      </p:sp>
      <p:sp>
        <p:nvSpPr>
          <p:cNvPr id="16" name="Slide Number Placeholder 4"/>
          <p:cNvSpPr txBox="1">
            <a:spLocks/>
          </p:cNvSpPr>
          <p:nvPr/>
        </p:nvSpPr>
        <p:spPr>
          <a:xfrm>
            <a:off x="11276251" y="6554620"/>
            <a:ext cx="381562" cy="18278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r" defTabSz="914019">
              <a:defRPr/>
            </a:pPr>
            <a:fld id="{C51EAA63-D034-42AE-91FA-B13B9518C7BE}" type="slidenum">
              <a:rPr lang="en-US" sz="800"/>
              <a:pPr algn="r" defTabSz="914019">
                <a:defRPr/>
              </a:pPr>
              <a:t>38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060141675"/>
      </p:ext>
    </p:extLst>
  </p:cSld>
  <p:clrMapOvr>
    <a:masterClrMapping/>
  </p:clrMapOvr>
  <p:transition spd="med">
    <p:wipe dir="r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26216" y="1830754"/>
            <a:ext cx="10365994" cy="4143560"/>
          </a:xfrm>
          <a:prstGeom prst="rect">
            <a:avLst/>
          </a:prstGeom>
          <a:gradFill flip="none" rotWithShape="1">
            <a:gsLst>
              <a:gs pos="0">
                <a:srgbClr val="DEDEDE"/>
              </a:gs>
              <a:gs pos="100000">
                <a:srgbClr val="F3F3F3"/>
              </a:gs>
            </a:gsLst>
            <a:lin ang="16200000" scaled="0"/>
            <a:tileRect/>
          </a:gradFill>
          <a:ln>
            <a:noFill/>
          </a:ln>
          <a:effectLst>
            <a:outerShdw blurRad="152400" dist="63500" dir="78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46" tIns="609232" rIns="121846" bIns="60923" anchor="t"/>
          <a:lstStyle/>
          <a:p>
            <a:pPr marL="304609" indent="-224225" defTabSz="304609" eaLnBrk="0" hangingPunct="0">
              <a:spcAft>
                <a:spcPts val="1600"/>
              </a:spcAft>
              <a:buClr>
                <a:srgbClr val="FF0000"/>
              </a:buClr>
              <a:buSzPct val="85000"/>
              <a:buFont typeface="Wingdings" pitchFamily="2" charset="2"/>
              <a:buChar char="§"/>
            </a:pPr>
            <a:endParaRPr lang="en-US" sz="2398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227" name="Title 1"/>
          <p:cNvSpPr>
            <a:spLocks noGrp="1"/>
          </p:cNvSpPr>
          <p:nvPr>
            <p:ph type="title"/>
          </p:nvPr>
        </p:nvSpPr>
        <p:spPr>
          <a:xfrm>
            <a:off x="745814" y="661130"/>
            <a:ext cx="11122302" cy="765510"/>
          </a:xfrm>
        </p:spPr>
        <p:txBody>
          <a:bodyPr>
            <a:normAutofit/>
          </a:bodyPr>
          <a:lstStyle/>
          <a:p>
            <a:r>
              <a:rPr lang="en-US" sz="3599" dirty="0">
                <a:cs typeface="Arial" charset="0"/>
              </a:rPr>
              <a:t>Oracle In-Memory: Simple to Implement</a:t>
            </a:r>
          </a:p>
        </p:txBody>
      </p:sp>
      <p:sp>
        <p:nvSpPr>
          <p:cNvPr id="52228" name="Content Placeholder 2"/>
          <p:cNvSpPr>
            <a:spLocks noGrp="1"/>
          </p:cNvSpPr>
          <p:nvPr>
            <p:ph idx="4294967295"/>
          </p:nvPr>
        </p:nvSpPr>
        <p:spPr>
          <a:xfrm>
            <a:off x="1189847" y="2014695"/>
            <a:ext cx="9933109" cy="4417298"/>
          </a:xfrm>
        </p:spPr>
        <p:txBody>
          <a:bodyPr/>
          <a:lstStyle/>
          <a:p>
            <a:pPr marL="463258" lvl="1" indent="-463258">
              <a:buFont typeface="Arial" charset="0"/>
              <a:buAutoNum type="arabicPeriod"/>
            </a:pPr>
            <a:r>
              <a:rPr lang="en-US" sz="3198" dirty="0">
                <a:ea typeface="Arial" charset="0"/>
              </a:rPr>
              <a:t>Configure Memory Capacity</a:t>
            </a:r>
          </a:p>
          <a:p>
            <a:pPr marL="687182" lvl="2" indent="-220597">
              <a:buClr>
                <a:schemeClr val="tx1"/>
              </a:buClr>
            </a:pPr>
            <a:r>
              <a:rPr lang="en-US" sz="3198" dirty="0">
                <a:latin typeface="Courier New" pitchFamily="49" charset="0"/>
                <a:ea typeface="ＭＳ Ｐゴシック" charset="0"/>
                <a:cs typeface="Courier New" pitchFamily="49" charset="0"/>
              </a:rPr>
              <a:t>inmemory_size = XXX GB</a:t>
            </a:r>
          </a:p>
          <a:p>
            <a:pPr marL="463258" lvl="2" indent="-463258"/>
            <a:endParaRPr lang="en-US" sz="3198" dirty="0">
              <a:latin typeface="Times New Roman" charset="0"/>
              <a:ea typeface="ＭＳ Ｐゴシック" charset="0"/>
              <a:cs typeface="Times New Roman" charset="0"/>
            </a:endParaRPr>
          </a:p>
          <a:p>
            <a:pPr marL="463258" lvl="1" indent="-463258">
              <a:buFont typeface="Arial" charset="0"/>
              <a:buAutoNum type="arabicPeriod"/>
            </a:pPr>
            <a:r>
              <a:rPr lang="en-US" sz="3198" dirty="0">
                <a:ea typeface="Arial" charset="0"/>
              </a:rPr>
              <a:t>Configure tables or partitions to be in memory</a:t>
            </a:r>
          </a:p>
          <a:p>
            <a:pPr marL="687182" lvl="2" indent="-220597">
              <a:buClr>
                <a:schemeClr val="tx1"/>
              </a:buClr>
              <a:tabLst>
                <a:tab pos="461824" algn="l"/>
              </a:tabLst>
            </a:pPr>
            <a:r>
              <a:rPr lang="en-US" sz="3198" dirty="0">
                <a:latin typeface="Courier New" pitchFamily="49" charset="0"/>
                <a:ea typeface="ＭＳ Ｐゴシック" charset="0"/>
                <a:cs typeface="Courier New" pitchFamily="49" charset="0"/>
              </a:rPr>
              <a:t>alter table | partition  …  </a:t>
            </a:r>
            <a:r>
              <a:rPr lang="en-US" sz="3198" b="1" dirty="0">
                <a:latin typeface="Courier New" pitchFamily="49" charset="0"/>
                <a:ea typeface="ＭＳ Ｐゴシック" charset="0"/>
                <a:cs typeface="Courier New" pitchFamily="49" charset="0"/>
              </a:rPr>
              <a:t>inmemory</a:t>
            </a:r>
            <a:r>
              <a:rPr lang="en-US" sz="3198" dirty="0">
                <a:latin typeface="Courier New" pitchFamily="49" charset="0"/>
                <a:ea typeface="ＭＳ Ｐゴシック" charset="0"/>
                <a:cs typeface="Courier New" pitchFamily="49" charset="0"/>
              </a:rPr>
              <a:t>;</a:t>
            </a:r>
          </a:p>
          <a:p>
            <a:pPr marL="463258" lvl="2" indent="-463258"/>
            <a:endParaRPr lang="en-US" sz="3198" dirty="0">
              <a:latin typeface="Arial" charset="0"/>
              <a:ea typeface="Arial" charset="0"/>
              <a:cs typeface="Arial" charset="0"/>
            </a:endParaRPr>
          </a:p>
          <a:p>
            <a:pPr marL="463258" lvl="1" indent="-463258">
              <a:buFont typeface="+mj-lt"/>
              <a:buAutoNum type="arabicPeriod"/>
            </a:pPr>
            <a:r>
              <a:rPr lang="en-US" sz="3198" dirty="0">
                <a:ea typeface="Arial" charset="0"/>
              </a:rPr>
              <a:t>Later drop analytic indexes to speed up OLTP</a:t>
            </a:r>
          </a:p>
        </p:txBody>
      </p:sp>
    </p:spTree>
    <p:extLst>
      <p:ext uri="{BB962C8B-B14F-4D97-AF65-F5344CB8AC3E}">
        <p14:creationId xmlns:p14="http://schemas.microsoft.com/office/powerpoint/2010/main" val="2327235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C76E1649-D7AD-344B-AFE2-33772BA3C4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/>
              <a:t>Overview</a:t>
            </a:r>
            <a:endParaRPr lang="es-ES" dirty="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B5F6DC83-F56F-3E4F-91DD-51ACE9D9FB48}"/>
              </a:ext>
            </a:extLst>
          </p:cNvPr>
          <p:cNvSpPr txBox="1"/>
          <p:nvPr/>
        </p:nvSpPr>
        <p:spPr>
          <a:xfrm>
            <a:off x="3275730" y="2300748"/>
            <a:ext cx="5471652" cy="23449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s-ES" sz="4000" dirty="0" err="1"/>
              <a:t>MultiTenant</a:t>
            </a:r>
            <a:endParaRPr lang="es-ES" sz="4000" dirty="0"/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s-ES" sz="4000" dirty="0" err="1">
                <a:solidFill>
                  <a:schemeClr val="bg1">
                    <a:lumMod val="85000"/>
                  </a:schemeClr>
                </a:solidFill>
              </a:rPr>
              <a:t>Multimodel</a:t>
            </a:r>
            <a:r>
              <a:rPr lang="es-ES" sz="4000" dirty="0">
                <a:solidFill>
                  <a:schemeClr val="bg1">
                    <a:lumMod val="85000"/>
                  </a:schemeClr>
                </a:solidFill>
              </a:rPr>
              <a:t> - JSON</a:t>
            </a: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s-ES" sz="4000" dirty="0" err="1">
                <a:solidFill>
                  <a:schemeClr val="bg1">
                    <a:lumMod val="85000"/>
                  </a:schemeClr>
                </a:solidFill>
              </a:rPr>
              <a:t>InMemory</a:t>
            </a:r>
            <a:endParaRPr lang="es-ES" sz="4000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61225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C76E1649-D7AD-344B-AFE2-33772BA3C4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/>
              <a:t>Conclusions</a:t>
            </a:r>
            <a:endParaRPr lang="es-ES" dirty="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B5F6DC83-F56F-3E4F-91DD-51ACE9D9FB48}"/>
              </a:ext>
            </a:extLst>
          </p:cNvPr>
          <p:cNvSpPr txBox="1"/>
          <p:nvPr/>
        </p:nvSpPr>
        <p:spPr>
          <a:xfrm>
            <a:off x="2715290" y="2993923"/>
            <a:ext cx="7936233" cy="16518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s-ES" sz="4000" dirty="0" err="1"/>
              <a:t>MultiTenant</a:t>
            </a:r>
            <a:r>
              <a:rPr lang="es-ES" sz="4000" dirty="0"/>
              <a:t> + </a:t>
            </a:r>
            <a:r>
              <a:rPr lang="es-ES" sz="4000" dirty="0" err="1"/>
              <a:t>MultiModel</a:t>
            </a:r>
            <a:r>
              <a:rPr lang="es-ES" sz="4000" dirty="0"/>
              <a:t> JSON + </a:t>
            </a:r>
            <a:r>
              <a:rPr lang="es-ES" sz="4000" dirty="0" err="1"/>
              <a:t>InMemory</a:t>
            </a:r>
            <a:endParaRPr lang="es-ES" sz="4000" dirty="0"/>
          </a:p>
        </p:txBody>
      </p:sp>
    </p:spTree>
    <p:extLst>
      <p:ext uri="{BB962C8B-B14F-4D97-AF65-F5344CB8AC3E}">
        <p14:creationId xmlns:p14="http://schemas.microsoft.com/office/powerpoint/2010/main" val="112738769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685800" y="2294241"/>
            <a:ext cx="11049000" cy="3962400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232" y="349627"/>
            <a:ext cx="10901767" cy="1325563"/>
          </a:xfrm>
        </p:spPr>
        <p:txBody>
          <a:bodyPr/>
          <a:lstStyle/>
          <a:p>
            <a:r>
              <a:rPr lang="en-US" altLang="ja-JP" sz="4000" dirty="0"/>
              <a:t>Strategy: Oracle Database as a Document Store</a:t>
            </a:r>
            <a:endParaRPr lang="en-US" sz="4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277600" y="6556248"/>
            <a:ext cx="381661" cy="18288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51EAA63-D034-42AE-91FA-B13B9518C7BE}" type="slidenum">
              <a:rPr lang="es-ES" smtClean="0"/>
              <a:pPr/>
              <a:t>41</a:t>
            </a:fld>
            <a:endParaRPr lang="uk-UA" dirty="0">
              <a:solidFill>
                <a:srgbClr val="5F5F5F">
                  <a:lumMod val="60000"/>
                  <a:lumOff val="40000"/>
                </a:srgbClr>
              </a:solidFill>
              <a:latin typeface="Calibri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1082676" y="1729091"/>
            <a:ext cx="7832724" cy="1022350"/>
          </a:xfrm>
          <a:prstGeom prst="roundRect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altLang="ja-JP" sz="3200" dirty="0"/>
              <a:t>Built on Foundation of Oracle Database</a:t>
            </a:r>
          </a:p>
        </p:txBody>
      </p:sp>
      <p:sp>
        <p:nvSpPr>
          <p:cNvPr id="10" name="Rectangle 9"/>
          <p:cNvSpPr/>
          <p:nvPr/>
        </p:nvSpPr>
        <p:spPr>
          <a:xfrm>
            <a:off x="1143000" y="2751442"/>
            <a:ext cx="10287000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SzPct val="95000"/>
              <a:buFont typeface="Arial"/>
              <a:buChar char="•"/>
            </a:pPr>
            <a:r>
              <a:rPr lang="en-US" sz="2800" dirty="0">
                <a:solidFill>
                  <a:srgbClr val="5F5F5F"/>
                </a:solidFill>
              </a:rPr>
              <a:t>Transactions and consistency</a:t>
            </a:r>
          </a:p>
          <a:p>
            <a:pPr marL="285750" indent="-285750">
              <a:buSzPct val="95000"/>
              <a:buFont typeface="Arial"/>
              <a:buChar char="•"/>
            </a:pPr>
            <a:r>
              <a:rPr lang="en-US" sz="2800" dirty="0">
                <a:solidFill>
                  <a:srgbClr val="5F5F5F"/>
                </a:solidFill>
                <a:latin typeface="Calibri"/>
              </a:rPr>
              <a:t>Advanced SQL engine</a:t>
            </a:r>
          </a:p>
          <a:p>
            <a:pPr marL="285750" indent="-285750">
              <a:buSzPct val="95000"/>
              <a:buFont typeface="Arial"/>
              <a:buChar char="•"/>
            </a:pPr>
            <a:r>
              <a:rPr lang="en-US" sz="2800" dirty="0">
                <a:solidFill>
                  <a:srgbClr val="5F5F5F"/>
                </a:solidFill>
                <a:latin typeface="Calibri"/>
              </a:rPr>
              <a:t>Enterprise-Grade High Availability</a:t>
            </a:r>
          </a:p>
          <a:p>
            <a:pPr marL="285750" indent="-285750">
              <a:buSzPct val="95000"/>
              <a:buFont typeface="Arial"/>
              <a:buChar char="•"/>
            </a:pPr>
            <a:r>
              <a:rPr lang="en-US" sz="2800" dirty="0">
                <a:solidFill>
                  <a:srgbClr val="5F5F5F"/>
                </a:solidFill>
                <a:latin typeface="Calibri"/>
              </a:rPr>
              <a:t>Enterprise-Grade Security</a:t>
            </a:r>
          </a:p>
          <a:p>
            <a:pPr marL="285750" indent="-285750">
              <a:buSzPct val="95000"/>
              <a:buFont typeface="Arial"/>
              <a:buChar char="•"/>
            </a:pPr>
            <a:r>
              <a:rPr lang="en-US" sz="2800" dirty="0">
                <a:solidFill>
                  <a:srgbClr val="5F5F5F"/>
                </a:solidFill>
                <a:latin typeface="Calibri"/>
              </a:rPr>
              <a:t>Scalability and Performance: </a:t>
            </a:r>
            <a:r>
              <a:rPr lang="en-US" sz="2800" dirty="0" err="1">
                <a:solidFill>
                  <a:srgbClr val="5F5F5F"/>
                </a:solidFill>
                <a:latin typeface="Calibri"/>
              </a:rPr>
              <a:t>Exadata</a:t>
            </a:r>
            <a:r>
              <a:rPr lang="en-US" sz="2800" dirty="0">
                <a:solidFill>
                  <a:srgbClr val="5F5F5F"/>
                </a:solidFill>
                <a:latin typeface="Calibri"/>
              </a:rPr>
              <a:t> and Real Application Clusters </a:t>
            </a:r>
          </a:p>
          <a:p>
            <a:pPr marL="285750" indent="-285750">
              <a:buSzPct val="95000"/>
              <a:buFont typeface="Arial"/>
              <a:buChar char="•"/>
            </a:pPr>
            <a:r>
              <a:rPr lang="en-US" sz="2800" dirty="0">
                <a:solidFill>
                  <a:srgbClr val="5F5F5F"/>
                </a:solidFill>
                <a:latin typeface="Calibri"/>
              </a:rPr>
              <a:t>Oracle Public Cloud Infrastructure</a:t>
            </a:r>
          </a:p>
          <a:p>
            <a:pPr marL="285750" indent="-285750">
              <a:buSzPct val="95000"/>
              <a:buFont typeface="Arial"/>
              <a:buChar char="•"/>
            </a:pPr>
            <a:r>
              <a:rPr lang="en-US" sz="2800" dirty="0" err="1">
                <a:solidFill>
                  <a:srgbClr val="5F5F5F"/>
                </a:solidFill>
                <a:latin typeface="Calibri"/>
              </a:rPr>
              <a:t>Sharding</a:t>
            </a:r>
            <a:endParaRPr lang="en-US" sz="2800" dirty="0">
              <a:solidFill>
                <a:srgbClr val="5F5F5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58275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Oracle Database: A multi-model platform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532740" y="1968846"/>
            <a:ext cx="6407975" cy="4419600"/>
          </a:xfrm>
        </p:spPr>
        <p:txBody>
          <a:bodyPr/>
          <a:lstStyle/>
          <a:p>
            <a:pPr>
              <a:buClr>
                <a:srgbClr val="5F5F5F">
                  <a:lumMod val="60000"/>
                  <a:lumOff val="40000"/>
                </a:srgbClr>
              </a:buClr>
            </a:pPr>
            <a:r>
              <a:rPr lang="en-US" altLang="ja-JP" dirty="0">
                <a:solidFill>
                  <a:srgbClr val="5F5F5F"/>
                </a:solidFill>
              </a:rPr>
              <a:t>Oracle Database supports multi-model persistence</a:t>
            </a:r>
          </a:p>
          <a:p>
            <a:pPr lvl="1">
              <a:buClr>
                <a:srgbClr val="5F5F5F">
                  <a:lumMod val="60000"/>
                  <a:lumOff val="40000"/>
                </a:srgbClr>
              </a:buClr>
            </a:pPr>
            <a:r>
              <a:rPr lang="en-US" altLang="ja-JP" dirty="0">
                <a:solidFill>
                  <a:srgbClr val="5F5F5F"/>
                </a:solidFill>
              </a:rPr>
              <a:t>Relational</a:t>
            </a:r>
          </a:p>
          <a:p>
            <a:pPr lvl="1">
              <a:buClr>
                <a:srgbClr val="5F5F5F">
                  <a:lumMod val="60000"/>
                  <a:lumOff val="40000"/>
                </a:srgbClr>
              </a:buClr>
            </a:pPr>
            <a:r>
              <a:rPr lang="en-US" altLang="ja-JP" dirty="0">
                <a:solidFill>
                  <a:srgbClr val="5F5F5F"/>
                </a:solidFill>
              </a:rPr>
              <a:t>XML </a:t>
            </a:r>
          </a:p>
          <a:p>
            <a:pPr lvl="1">
              <a:buClr>
                <a:srgbClr val="5F5F5F">
                  <a:lumMod val="60000"/>
                  <a:lumOff val="40000"/>
                </a:srgbClr>
              </a:buClr>
            </a:pPr>
            <a:r>
              <a:rPr lang="en-US" altLang="ja-JP" dirty="0">
                <a:solidFill>
                  <a:srgbClr val="5F5F5F"/>
                </a:solidFill>
              </a:rPr>
              <a:t>JSON</a:t>
            </a:r>
          </a:p>
          <a:p>
            <a:pPr lvl="1">
              <a:buClr>
                <a:srgbClr val="5F5F5F">
                  <a:lumMod val="60000"/>
                  <a:lumOff val="40000"/>
                </a:srgbClr>
              </a:buClr>
            </a:pPr>
            <a:r>
              <a:rPr lang="en-US" altLang="ja-JP" dirty="0">
                <a:solidFill>
                  <a:srgbClr val="5F5F5F"/>
                </a:solidFill>
              </a:rPr>
              <a:t>Text</a:t>
            </a:r>
          </a:p>
          <a:p>
            <a:pPr lvl="1">
              <a:buClr>
                <a:srgbClr val="5F5F5F">
                  <a:lumMod val="60000"/>
                  <a:lumOff val="40000"/>
                </a:srgbClr>
              </a:buClr>
            </a:pPr>
            <a:r>
              <a:rPr lang="en-US" altLang="ja-JP" dirty="0">
                <a:solidFill>
                  <a:srgbClr val="5F5F5F"/>
                </a:solidFill>
              </a:rPr>
              <a:t>Graph &amp; Spatial</a:t>
            </a:r>
          </a:p>
          <a:p>
            <a:pPr>
              <a:buClr>
                <a:srgbClr val="5F5F5F">
                  <a:lumMod val="60000"/>
                  <a:lumOff val="40000"/>
                </a:srgbClr>
              </a:buClr>
            </a:pPr>
            <a:r>
              <a:rPr lang="en-US" altLang="ja-JP" dirty="0">
                <a:solidFill>
                  <a:srgbClr val="5F5F5F"/>
                </a:solidFill>
              </a:rPr>
              <a:t>Oracle Database provides integrated access to all database objects</a:t>
            </a:r>
          </a:p>
          <a:p>
            <a:endParaRPr kumimoji="1" lang="ja-JP" altLang="en-US" dirty="0"/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3" cstate="print"/>
          <a:srcRect l="15772" r="8270"/>
          <a:stretch/>
        </p:blipFill>
        <p:spPr>
          <a:xfrm>
            <a:off x="7290633" y="2055740"/>
            <a:ext cx="3505151" cy="4128861"/>
          </a:xfrm>
          <a:prstGeom prst="rect">
            <a:avLst/>
          </a:prstGeom>
        </p:spPr>
      </p:pic>
      <p:sp>
        <p:nvSpPr>
          <p:cNvPr id="43" name="Content Placeholder 6"/>
          <p:cNvSpPr txBox="1">
            <a:spLocks/>
          </p:cNvSpPr>
          <p:nvPr/>
        </p:nvSpPr>
        <p:spPr>
          <a:xfrm>
            <a:off x="6248557" y="2590801"/>
            <a:ext cx="4114647" cy="1981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defPPr>
              <a:defRPr lang="en-US"/>
            </a:defPPr>
            <a:lvl1pPr marL="228591" indent="-22859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400"/>
            </a:lvl1pPr>
            <a:lvl2pPr marL="502899" lvl="1" indent="-22859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2000"/>
            </a:lvl2pPr>
            <a:lvl3pPr marL="731489" indent="-182872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/>
            </a:lvl3pPr>
            <a:lvl4pPr marL="960080" indent="-182872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</a:lvl4pPr>
            <a:lvl5pPr marL="1188671" indent="-182872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/>
            </a:lvl5pPr>
            <a:lvl6pPr marL="1417261" indent="-182872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/>
            </a:lvl6pPr>
            <a:lvl7pPr marL="1645852" indent="-182872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/>
            </a:lvl7pPr>
            <a:lvl8pPr marL="1874441" indent="-182872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/>
            </a:lvl8pPr>
            <a:lvl9pPr marL="2103032" indent="-182872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/>
            </a:lvl9pPr>
          </a:lstStyle>
          <a:p>
            <a:endParaRPr lang="en-US" dirty="0"/>
          </a:p>
          <a:p>
            <a:pPr lvl="1"/>
            <a:endParaRPr lang="en-US" dirty="0"/>
          </a:p>
          <a:p>
            <a:pPr>
              <a:buClr>
                <a:srgbClr val="5F5F5F">
                  <a:lumMod val="60000"/>
                  <a:lumOff val="40000"/>
                </a:srgbClr>
              </a:buClr>
            </a:pPr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686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Transactions and consistency</a:t>
            </a:r>
            <a:endParaRPr kumimoji="1" lang="ja-JP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2740" y="2285999"/>
            <a:ext cx="7011061" cy="3657601"/>
          </a:xfrm>
        </p:spPr>
        <p:txBody>
          <a:bodyPr/>
          <a:lstStyle/>
          <a:p>
            <a:r>
              <a:rPr kumimoji="1" lang="en-US" altLang="ja-JP" dirty="0"/>
              <a:t>ACID transactions by default</a:t>
            </a:r>
          </a:p>
          <a:p>
            <a:pPr lvl="1"/>
            <a:r>
              <a:rPr kumimoji="1" lang="en-US" altLang="ja-JP" dirty="0"/>
              <a:t>Transactions across multiple documents and multiple collections</a:t>
            </a:r>
          </a:p>
          <a:p>
            <a:pPr lvl="2"/>
            <a:r>
              <a:rPr kumimoji="1" lang="en-US" altLang="ja-JP" dirty="0"/>
              <a:t>No hand-coding of two-phase commit required</a:t>
            </a:r>
          </a:p>
          <a:p>
            <a:r>
              <a:rPr kumimoji="1" lang="en-US" altLang="ja-JP" dirty="0"/>
              <a:t>Read consistency by default</a:t>
            </a:r>
          </a:p>
          <a:p>
            <a:pPr lvl="1"/>
            <a:r>
              <a:rPr kumimoji="1" lang="en-US" altLang="ja-JP" dirty="0"/>
              <a:t>Unique multi-version read consistency model ensures that read queries and updates queries run simultaneously, without blocking and with consistent results	 </a:t>
            </a:r>
            <a:endParaRPr kumimoji="1" lang="ja-JP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277600" y="6556248"/>
            <a:ext cx="381661" cy="18288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51EAA63-D034-42AE-91FA-B13B9518C7BE}" type="slidenum">
              <a:rPr lang="es-ES" smtClean="0"/>
              <a:pPr/>
              <a:t>43</a:t>
            </a:fld>
            <a:endParaRPr lang="uk-UA" dirty="0"/>
          </a:p>
        </p:txBody>
      </p:sp>
      <p:pic>
        <p:nvPicPr>
          <p:cNvPr id="29" name="Picture 28" descr="ic-Consultation-gray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6010" y="3676352"/>
            <a:ext cx="1679282" cy="1396251"/>
          </a:xfrm>
          <a:prstGeom prst="rect">
            <a:avLst/>
          </a:prstGeom>
        </p:spPr>
      </p:pic>
      <p:grpSp>
        <p:nvGrpSpPr>
          <p:cNvPr id="30" name="Group 166"/>
          <p:cNvGrpSpPr/>
          <p:nvPr/>
        </p:nvGrpSpPr>
        <p:grpSpPr>
          <a:xfrm>
            <a:off x="8906268" y="2992370"/>
            <a:ext cx="1484506" cy="524732"/>
            <a:chOff x="6415303" y="3618184"/>
            <a:chExt cx="899896" cy="547414"/>
          </a:xfrm>
        </p:grpSpPr>
        <p:sp>
          <p:nvSpPr>
            <p:cNvPr id="31" name="Rectangle 30"/>
            <p:cNvSpPr/>
            <p:nvPr/>
          </p:nvSpPr>
          <p:spPr bwMode="auto">
            <a:xfrm>
              <a:off x="6415303" y="3618184"/>
              <a:ext cx="899896" cy="547414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oval" w="med" len="med"/>
              <a:tailEnd type="triangl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158723" indent="-158723" algn="ctr" defTabSz="1218987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</a:pPr>
              <a:endParaRPr lang="en-US" sz="2700" b="1" dirty="0">
                <a:latin typeface="Arial" charset="0"/>
              </a:endParaRPr>
            </a:p>
          </p:txBody>
        </p:sp>
        <p:cxnSp>
          <p:nvCxnSpPr>
            <p:cNvPr id="32" name="Straight Connector 31"/>
            <p:cNvCxnSpPr/>
            <p:nvPr/>
          </p:nvCxnSpPr>
          <p:spPr bwMode="auto">
            <a:xfrm>
              <a:off x="6489090" y="3724840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3" name="Straight Connector 32"/>
            <p:cNvCxnSpPr/>
            <p:nvPr/>
          </p:nvCxnSpPr>
          <p:spPr bwMode="auto">
            <a:xfrm>
              <a:off x="6489090" y="3808981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Straight Connector 33"/>
            <p:cNvCxnSpPr/>
            <p:nvPr/>
          </p:nvCxnSpPr>
          <p:spPr bwMode="auto">
            <a:xfrm>
              <a:off x="6489090" y="3893123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34"/>
            <p:cNvCxnSpPr/>
            <p:nvPr/>
          </p:nvCxnSpPr>
          <p:spPr bwMode="auto">
            <a:xfrm>
              <a:off x="6489090" y="3977264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35"/>
            <p:cNvCxnSpPr/>
            <p:nvPr/>
          </p:nvCxnSpPr>
          <p:spPr bwMode="auto">
            <a:xfrm>
              <a:off x="6489090" y="4061405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Straight Connector 36"/>
            <p:cNvCxnSpPr/>
            <p:nvPr/>
          </p:nvCxnSpPr>
          <p:spPr bwMode="auto">
            <a:xfrm rot="5400000" flipH="1" flipV="1">
              <a:off x="6448471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37"/>
            <p:cNvCxnSpPr/>
            <p:nvPr/>
          </p:nvCxnSpPr>
          <p:spPr bwMode="auto">
            <a:xfrm rot="5400000" flipH="1" flipV="1">
              <a:off x="6622639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38"/>
            <p:cNvCxnSpPr/>
            <p:nvPr/>
          </p:nvCxnSpPr>
          <p:spPr bwMode="auto">
            <a:xfrm rot="5400000" flipH="1" flipV="1">
              <a:off x="6796807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Straight Connector 39"/>
            <p:cNvCxnSpPr/>
            <p:nvPr/>
          </p:nvCxnSpPr>
          <p:spPr bwMode="auto">
            <a:xfrm rot="5400000" flipH="1" flipV="1">
              <a:off x="6956461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1" name="Straight Connector 40"/>
            <p:cNvCxnSpPr/>
            <p:nvPr/>
          </p:nvCxnSpPr>
          <p:spPr bwMode="auto">
            <a:xfrm rot="5400000" flipH="1" flipV="1">
              <a:off x="7087087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1"/>
            <p:cNvCxnSpPr/>
            <p:nvPr/>
          </p:nvCxnSpPr>
          <p:spPr bwMode="auto">
            <a:xfrm rot="5400000" flipH="1" flipV="1">
              <a:off x="6317845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43" name="Group 166"/>
          <p:cNvGrpSpPr/>
          <p:nvPr/>
        </p:nvGrpSpPr>
        <p:grpSpPr>
          <a:xfrm>
            <a:off x="8906268" y="3521301"/>
            <a:ext cx="1484506" cy="524732"/>
            <a:chOff x="6415303" y="3618184"/>
            <a:chExt cx="899896" cy="547414"/>
          </a:xfrm>
        </p:grpSpPr>
        <p:sp>
          <p:nvSpPr>
            <p:cNvPr id="44" name="Rectangle 43"/>
            <p:cNvSpPr/>
            <p:nvPr/>
          </p:nvSpPr>
          <p:spPr bwMode="auto">
            <a:xfrm>
              <a:off x="6415303" y="3618184"/>
              <a:ext cx="899896" cy="547414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oval" w="med" len="med"/>
              <a:tailEnd type="triangl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158723" indent="-158723" algn="ctr" defTabSz="1218987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</a:pPr>
              <a:endParaRPr lang="en-US" sz="2700" b="1" dirty="0">
                <a:latin typeface="Arial" charset="0"/>
              </a:endParaRPr>
            </a:p>
          </p:txBody>
        </p:sp>
        <p:cxnSp>
          <p:nvCxnSpPr>
            <p:cNvPr id="45" name="Straight Connector 44"/>
            <p:cNvCxnSpPr/>
            <p:nvPr/>
          </p:nvCxnSpPr>
          <p:spPr bwMode="auto">
            <a:xfrm>
              <a:off x="6489090" y="3724840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45"/>
            <p:cNvCxnSpPr/>
            <p:nvPr/>
          </p:nvCxnSpPr>
          <p:spPr bwMode="auto">
            <a:xfrm>
              <a:off x="6489090" y="3808981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46"/>
            <p:cNvCxnSpPr/>
            <p:nvPr/>
          </p:nvCxnSpPr>
          <p:spPr bwMode="auto">
            <a:xfrm>
              <a:off x="6489090" y="3893123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47"/>
            <p:cNvCxnSpPr/>
            <p:nvPr/>
          </p:nvCxnSpPr>
          <p:spPr bwMode="auto">
            <a:xfrm>
              <a:off x="6489090" y="3977264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48"/>
            <p:cNvCxnSpPr/>
            <p:nvPr/>
          </p:nvCxnSpPr>
          <p:spPr bwMode="auto">
            <a:xfrm>
              <a:off x="6489090" y="4061405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0" name="Straight Connector 49"/>
            <p:cNvCxnSpPr/>
            <p:nvPr/>
          </p:nvCxnSpPr>
          <p:spPr bwMode="auto">
            <a:xfrm rot="5400000" flipH="1" flipV="1">
              <a:off x="6448471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0"/>
            <p:cNvCxnSpPr/>
            <p:nvPr/>
          </p:nvCxnSpPr>
          <p:spPr bwMode="auto">
            <a:xfrm rot="5400000" flipH="1" flipV="1">
              <a:off x="6622639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1"/>
            <p:cNvCxnSpPr/>
            <p:nvPr/>
          </p:nvCxnSpPr>
          <p:spPr bwMode="auto">
            <a:xfrm rot="5400000" flipH="1" flipV="1">
              <a:off x="6796807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2"/>
            <p:cNvCxnSpPr/>
            <p:nvPr/>
          </p:nvCxnSpPr>
          <p:spPr bwMode="auto">
            <a:xfrm rot="5400000" flipH="1" flipV="1">
              <a:off x="6956461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4" name="Straight Connector 53"/>
            <p:cNvCxnSpPr/>
            <p:nvPr/>
          </p:nvCxnSpPr>
          <p:spPr bwMode="auto">
            <a:xfrm rot="5400000" flipH="1" flipV="1">
              <a:off x="7087087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5" name="Straight Connector 54"/>
            <p:cNvCxnSpPr/>
            <p:nvPr/>
          </p:nvCxnSpPr>
          <p:spPr bwMode="auto">
            <a:xfrm rot="5400000" flipH="1" flipV="1">
              <a:off x="6317845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56" name="Group 166"/>
          <p:cNvGrpSpPr/>
          <p:nvPr/>
        </p:nvGrpSpPr>
        <p:grpSpPr>
          <a:xfrm>
            <a:off x="8906268" y="4050233"/>
            <a:ext cx="1484506" cy="524732"/>
            <a:chOff x="6415303" y="3618184"/>
            <a:chExt cx="899896" cy="547414"/>
          </a:xfrm>
        </p:grpSpPr>
        <p:sp>
          <p:nvSpPr>
            <p:cNvPr id="57" name="Rectangle 56"/>
            <p:cNvSpPr/>
            <p:nvPr/>
          </p:nvSpPr>
          <p:spPr bwMode="auto">
            <a:xfrm>
              <a:off x="6415303" y="3618184"/>
              <a:ext cx="899896" cy="547414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oval" w="med" len="med"/>
              <a:tailEnd type="triangl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158723" indent="-158723" algn="ctr" defTabSz="1218987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</a:pPr>
              <a:endParaRPr lang="en-US" sz="2700" b="1" dirty="0">
                <a:latin typeface="Arial" charset="0"/>
              </a:endParaRPr>
            </a:p>
          </p:txBody>
        </p:sp>
        <p:cxnSp>
          <p:nvCxnSpPr>
            <p:cNvPr id="58" name="Straight Connector 57"/>
            <p:cNvCxnSpPr/>
            <p:nvPr/>
          </p:nvCxnSpPr>
          <p:spPr bwMode="auto">
            <a:xfrm>
              <a:off x="6489090" y="3724840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9" name="Straight Connector 58"/>
            <p:cNvCxnSpPr/>
            <p:nvPr/>
          </p:nvCxnSpPr>
          <p:spPr bwMode="auto">
            <a:xfrm>
              <a:off x="6489090" y="3808981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0" name="Straight Connector 59"/>
            <p:cNvCxnSpPr/>
            <p:nvPr/>
          </p:nvCxnSpPr>
          <p:spPr bwMode="auto">
            <a:xfrm>
              <a:off x="6489090" y="3893123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1" name="Straight Connector 60"/>
            <p:cNvCxnSpPr/>
            <p:nvPr/>
          </p:nvCxnSpPr>
          <p:spPr bwMode="auto">
            <a:xfrm>
              <a:off x="6489090" y="3977264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2" name="Straight Connector 61"/>
            <p:cNvCxnSpPr/>
            <p:nvPr/>
          </p:nvCxnSpPr>
          <p:spPr bwMode="auto">
            <a:xfrm>
              <a:off x="6489090" y="4061405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3" name="Straight Connector 62"/>
            <p:cNvCxnSpPr/>
            <p:nvPr/>
          </p:nvCxnSpPr>
          <p:spPr bwMode="auto">
            <a:xfrm rot="5400000" flipH="1" flipV="1">
              <a:off x="6448471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4" name="Straight Connector 63"/>
            <p:cNvCxnSpPr/>
            <p:nvPr/>
          </p:nvCxnSpPr>
          <p:spPr bwMode="auto">
            <a:xfrm rot="5400000" flipH="1" flipV="1">
              <a:off x="6622639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5" name="Straight Connector 64"/>
            <p:cNvCxnSpPr/>
            <p:nvPr/>
          </p:nvCxnSpPr>
          <p:spPr bwMode="auto">
            <a:xfrm rot="5400000" flipH="1" flipV="1">
              <a:off x="6796807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6" name="Straight Connector 65"/>
            <p:cNvCxnSpPr/>
            <p:nvPr/>
          </p:nvCxnSpPr>
          <p:spPr bwMode="auto">
            <a:xfrm rot="5400000" flipH="1" flipV="1">
              <a:off x="6956461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7" name="Straight Connector 66"/>
            <p:cNvCxnSpPr/>
            <p:nvPr/>
          </p:nvCxnSpPr>
          <p:spPr bwMode="auto">
            <a:xfrm rot="5400000" flipH="1" flipV="1">
              <a:off x="7087087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8" name="Straight Connector 67"/>
            <p:cNvCxnSpPr/>
            <p:nvPr/>
          </p:nvCxnSpPr>
          <p:spPr bwMode="auto">
            <a:xfrm rot="5400000" flipH="1" flipV="1">
              <a:off x="6317845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69" name="Group 166"/>
          <p:cNvGrpSpPr/>
          <p:nvPr/>
        </p:nvGrpSpPr>
        <p:grpSpPr>
          <a:xfrm>
            <a:off x="8906268" y="4579164"/>
            <a:ext cx="1484506" cy="524732"/>
            <a:chOff x="6415303" y="3618184"/>
            <a:chExt cx="899896" cy="547414"/>
          </a:xfrm>
        </p:grpSpPr>
        <p:sp>
          <p:nvSpPr>
            <p:cNvPr id="70" name="Rectangle 69"/>
            <p:cNvSpPr/>
            <p:nvPr/>
          </p:nvSpPr>
          <p:spPr bwMode="auto">
            <a:xfrm>
              <a:off x="6415303" y="3618184"/>
              <a:ext cx="899896" cy="547414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oval" w="med" len="med"/>
              <a:tailEnd type="triangl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158723" indent="-158723" algn="ctr" defTabSz="1218987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</a:pPr>
              <a:endParaRPr lang="en-US" sz="2700" b="1" dirty="0">
                <a:latin typeface="Arial" charset="0"/>
              </a:endParaRPr>
            </a:p>
          </p:txBody>
        </p:sp>
        <p:cxnSp>
          <p:nvCxnSpPr>
            <p:cNvPr id="71" name="Straight Connector 70"/>
            <p:cNvCxnSpPr/>
            <p:nvPr/>
          </p:nvCxnSpPr>
          <p:spPr bwMode="auto">
            <a:xfrm>
              <a:off x="6489090" y="3724840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2" name="Straight Connector 71"/>
            <p:cNvCxnSpPr/>
            <p:nvPr/>
          </p:nvCxnSpPr>
          <p:spPr bwMode="auto">
            <a:xfrm>
              <a:off x="6489090" y="3808981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3" name="Straight Connector 72"/>
            <p:cNvCxnSpPr/>
            <p:nvPr/>
          </p:nvCxnSpPr>
          <p:spPr bwMode="auto">
            <a:xfrm>
              <a:off x="6489090" y="3893123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4" name="Straight Connector 73"/>
            <p:cNvCxnSpPr/>
            <p:nvPr/>
          </p:nvCxnSpPr>
          <p:spPr bwMode="auto">
            <a:xfrm>
              <a:off x="6489090" y="3977264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5" name="Straight Connector 74"/>
            <p:cNvCxnSpPr/>
            <p:nvPr/>
          </p:nvCxnSpPr>
          <p:spPr bwMode="auto">
            <a:xfrm>
              <a:off x="6489090" y="4061405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6" name="Straight Connector 75"/>
            <p:cNvCxnSpPr/>
            <p:nvPr/>
          </p:nvCxnSpPr>
          <p:spPr bwMode="auto">
            <a:xfrm rot="5400000" flipH="1" flipV="1">
              <a:off x="6448471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7" name="Straight Connector 76"/>
            <p:cNvCxnSpPr/>
            <p:nvPr/>
          </p:nvCxnSpPr>
          <p:spPr bwMode="auto">
            <a:xfrm rot="5400000" flipH="1" flipV="1">
              <a:off x="6622639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8" name="Straight Connector 77"/>
            <p:cNvCxnSpPr/>
            <p:nvPr/>
          </p:nvCxnSpPr>
          <p:spPr bwMode="auto">
            <a:xfrm rot="5400000" flipH="1" flipV="1">
              <a:off x="6796807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9" name="Straight Connector 78"/>
            <p:cNvCxnSpPr/>
            <p:nvPr/>
          </p:nvCxnSpPr>
          <p:spPr bwMode="auto">
            <a:xfrm rot="5400000" flipH="1" flipV="1">
              <a:off x="6956461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0" name="Straight Connector 79"/>
            <p:cNvCxnSpPr/>
            <p:nvPr/>
          </p:nvCxnSpPr>
          <p:spPr bwMode="auto">
            <a:xfrm rot="5400000" flipH="1" flipV="1">
              <a:off x="7087087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1" name="Straight Connector 80"/>
            <p:cNvCxnSpPr/>
            <p:nvPr/>
          </p:nvCxnSpPr>
          <p:spPr bwMode="auto">
            <a:xfrm rot="5400000" flipH="1" flipV="1">
              <a:off x="6317845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82" name="Group 166"/>
          <p:cNvGrpSpPr/>
          <p:nvPr/>
        </p:nvGrpSpPr>
        <p:grpSpPr>
          <a:xfrm>
            <a:off x="8906268" y="5108095"/>
            <a:ext cx="1484506" cy="524732"/>
            <a:chOff x="6415303" y="3618184"/>
            <a:chExt cx="899896" cy="547414"/>
          </a:xfrm>
        </p:grpSpPr>
        <p:sp>
          <p:nvSpPr>
            <p:cNvPr id="83" name="Rectangle 82"/>
            <p:cNvSpPr/>
            <p:nvPr/>
          </p:nvSpPr>
          <p:spPr bwMode="auto">
            <a:xfrm>
              <a:off x="6415303" y="3618184"/>
              <a:ext cx="899896" cy="547414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oval" w="med" len="med"/>
              <a:tailEnd type="triangl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158723" indent="-158723" algn="ctr" defTabSz="1218987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</a:pPr>
              <a:endParaRPr lang="en-US" sz="2700" b="1" dirty="0">
                <a:latin typeface="Arial" charset="0"/>
              </a:endParaRPr>
            </a:p>
          </p:txBody>
        </p:sp>
        <p:cxnSp>
          <p:nvCxnSpPr>
            <p:cNvPr id="84" name="Straight Connector 83"/>
            <p:cNvCxnSpPr/>
            <p:nvPr/>
          </p:nvCxnSpPr>
          <p:spPr bwMode="auto">
            <a:xfrm>
              <a:off x="6489090" y="3724840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5" name="Straight Connector 84"/>
            <p:cNvCxnSpPr/>
            <p:nvPr/>
          </p:nvCxnSpPr>
          <p:spPr bwMode="auto">
            <a:xfrm>
              <a:off x="6489090" y="3808981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6" name="Straight Connector 85"/>
            <p:cNvCxnSpPr/>
            <p:nvPr/>
          </p:nvCxnSpPr>
          <p:spPr bwMode="auto">
            <a:xfrm>
              <a:off x="6489090" y="3893123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7" name="Straight Connector 86"/>
            <p:cNvCxnSpPr/>
            <p:nvPr/>
          </p:nvCxnSpPr>
          <p:spPr bwMode="auto">
            <a:xfrm>
              <a:off x="6489090" y="3977264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8" name="Straight Connector 87"/>
            <p:cNvCxnSpPr/>
            <p:nvPr/>
          </p:nvCxnSpPr>
          <p:spPr bwMode="auto">
            <a:xfrm>
              <a:off x="6489090" y="4061405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9" name="Straight Connector 88"/>
            <p:cNvCxnSpPr/>
            <p:nvPr/>
          </p:nvCxnSpPr>
          <p:spPr bwMode="auto">
            <a:xfrm rot="5400000" flipH="1" flipV="1">
              <a:off x="6448471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0" name="Straight Connector 89"/>
            <p:cNvCxnSpPr/>
            <p:nvPr/>
          </p:nvCxnSpPr>
          <p:spPr bwMode="auto">
            <a:xfrm rot="5400000" flipH="1" flipV="1">
              <a:off x="6622639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1" name="Straight Connector 90"/>
            <p:cNvCxnSpPr/>
            <p:nvPr/>
          </p:nvCxnSpPr>
          <p:spPr bwMode="auto">
            <a:xfrm rot="5400000" flipH="1" flipV="1">
              <a:off x="6796807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2" name="Straight Connector 91"/>
            <p:cNvCxnSpPr/>
            <p:nvPr/>
          </p:nvCxnSpPr>
          <p:spPr bwMode="auto">
            <a:xfrm rot="5400000" flipH="1" flipV="1">
              <a:off x="6956461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3" name="Straight Connector 92"/>
            <p:cNvCxnSpPr/>
            <p:nvPr/>
          </p:nvCxnSpPr>
          <p:spPr bwMode="auto">
            <a:xfrm rot="5400000" flipH="1" flipV="1">
              <a:off x="7087087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4" name="Straight Connector 93"/>
            <p:cNvCxnSpPr/>
            <p:nvPr/>
          </p:nvCxnSpPr>
          <p:spPr bwMode="auto">
            <a:xfrm rot="5400000" flipH="1" flipV="1">
              <a:off x="6317845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95" name="Rectangle 94"/>
          <p:cNvSpPr/>
          <p:nvPr/>
        </p:nvSpPr>
        <p:spPr bwMode="auto">
          <a:xfrm>
            <a:off x="8905521" y="2830055"/>
            <a:ext cx="1485480" cy="168546"/>
          </a:xfrm>
          <a:prstGeom prst="rect">
            <a:avLst/>
          </a:prstGeom>
          <a:ln w="19050">
            <a:solidFill>
              <a:schemeClr val="accent5"/>
            </a:solidFill>
            <a:headEnd type="oval" w="med" len="med"/>
            <a:tailEnd type="triangle" w="med" len="med"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58723" indent="-158723" algn="ctr" defTabSz="1218987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</a:pPr>
            <a:endParaRPr lang="en-US" sz="2700" b="1" dirty="0">
              <a:latin typeface="Arial" charset="0"/>
            </a:endParaRPr>
          </a:p>
        </p:txBody>
      </p:sp>
      <p:grpSp>
        <p:nvGrpSpPr>
          <p:cNvPr id="96" name="Group 166"/>
          <p:cNvGrpSpPr/>
          <p:nvPr/>
        </p:nvGrpSpPr>
        <p:grpSpPr>
          <a:xfrm>
            <a:off x="10498185" y="4050473"/>
            <a:ext cx="1484505" cy="524733"/>
            <a:chOff x="6415303" y="3618184"/>
            <a:chExt cx="899896" cy="547414"/>
          </a:xfrm>
        </p:grpSpPr>
        <p:sp>
          <p:nvSpPr>
            <p:cNvPr id="97" name="Rectangle 96"/>
            <p:cNvSpPr/>
            <p:nvPr/>
          </p:nvSpPr>
          <p:spPr bwMode="auto">
            <a:xfrm>
              <a:off x="6415303" y="3618184"/>
              <a:ext cx="899896" cy="547414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oval" w="med" len="med"/>
              <a:tailEnd type="triangl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158723" indent="-158723" algn="ctr" defTabSz="1218987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</a:pPr>
              <a:endParaRPr lang="en-US" sz="2700" b="1" dirty="0">
                <a:latin typeface="Arial" charset="0"/>
              </a:endParaRPr>
            </a:p>
          </p:txBody>
        </p:sp>
        <p:cxnSp>
          <p:nvCxnSpPr>
            <p:cNvPr id="98" name="Straight Connector 97"/>
            <p:cNvCxnSpPr/>
            <p:nvPr/>
          </p:nvCxnSpPr>
          <p:spPr bwMode="auto">
            <a:xfrm>
              <a:off x="6489090" y="3724840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9" name="Straight Connector 98"/>
            <p:cNvCxnSpPr/>
            <p:nvPr/>
          </p:nvCxnSpPr>
          <p:spPr bwMode="auto">
            <a:xfrm>
              <a:off x="6489090" y="3808981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0" name="Straight Connector 99"/>
            <p:cNvCxnSpPr/>
            <p:nvPr/>
          </p:nvCxnSpPr>
          <p:spPr bwMode="auto">
            <a:xfrm>
              <a:off x="6489090" y="3893123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1" name="Straight Connector 100"/>
            <p:cNvCxnSpPr/>
            <p:nvPr/>
          </p:nvCxnSpPr>
          <p:spPr bwMode="auto">
            <a:xfrm>
              <a:off x="6489090" y="3977264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2" name="Straight Connector 101"/>
            <p:cNvCxnSpPr/>
            <p:nvPr/>
          </p:nvCxnSpPr>
          <p:spPr bwMode="auto">
            <a:xfrm>
              <a:off x="6489090" y="4061405"/>
              <a:ext cx="768725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3" name="Straight Connector 102"/>
            <p:cNvCxnSpPr/>
            <p:nvPr/>
          </p:nvCxnSpPr>
          <p:spPr bwMode="auto">
            <a:xfrm rot="5400000" flipH="1" flipV="1">
              <a:off x="6448471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4" name="Straight Connector 103"/>
            <p:cNvCxnSpPr/>
            <p:nvPr/>
          </p:nvCxnSpPr>
          <p:spPr bwMode="auto">
            <a:xfrm rot="5400000" flipH="1" flipV="1">
              <a:off x="6622639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5" name="Straight Connector 104"/>
            <p:cNvCxnSpPr/>
            <p:nvPr/>
          </p:nvCxnSpPr>
          <p:spPr bwMode="auto">
            <a:xfrm rot="5400000" flipH="1" flipV="1">
              <a:off x="6796807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6" name="Straight Connector 105"/>
            <p:cNvCxnSpPr/>
            <p:nvPr/>
          </p:nvCxnSpPr>
          <p:spPr bwMode="auto">
            <a:xfrm rot="5400000" flipH="1" flipV="1">
              <a:off x="6956461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7" name="Straight Connector 106"/>
            <p:cNvCxnSpPr/>
            <p:nvPr/>
          </p:nvCxnSpPr>
          <p:spPr bwMode="auto">
            <a:xfrm rot="5400000" flipH="1" flipV="1">
              <a:off x="7087087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8" name="Straight Connector 107"/>
            <p:cNvCxnSpPr/>
            <p:nvPr/>
          </p:nvCxnSpPr>
          <p:spPr bwMode="auto">
            <a:xfrm rot="5400000" flipH="1" flipV="1">
              <a:off x="6317845" y="3899326"/>
              <a:ext cx="338328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09" name="Group 120"/>
          <p:cNvGrpSpPr/>
          <p:nvPr/>
        </p:nvGrpSpPr>
        <p:grpSpPr>
          <a:xfrm>
            <a:off x="7602925" y="3775026"/>
            <a:ext cx="2692548" cy="1271308"/>
            <a:chOff x="146235" y="2583310"/>
            <a:chExt cx="2019937" cy="1146759"/>
          </a:xfrm>
        </p:grpSpPr>
        <p:sp>
          <p:nvSpPr>
            <p:cNvPr id="110" name="Line 44"/>
            <p:cNvSpPr>
              <a:spLocks noChangeShapeType="1"/>
            </p:cNvSpPr>
            <p:nvPr/>
          </p:nvSpPr>
          <p:spPr bwMode="auto">
            <a:xfrm flipH="1">
              <a:off x="567164" y="3079670"/>
              <a:ext cx="649595" cy="403792"/>
            </a:xfrm>
            <a:prstGeom prst="line">
              <a:avLst/>
            </a:prstGeom>
            <a:noFill/>
            <a:ln w="50800">
              <a:solidFill>
                <a:srgbClr val="FC0128"/>
              </a:solidFill>
              <a:round/>
              <a:headEnd type="stealth" w="med" len="med"/>
              <a:tailEnd type="none" w="sm" len="sm"/>
            </a:ln>
          </p:spPr>
          <p:txBody>
            <a:bodyPr/>
            <a:lstStyle/>
            <a:p>
              <a:endParaRPr lang="en-US" sz="500" dirty="0"/>
            </a:p>
          </p:txBody>
        </p:sp>
        <p:sp>
          <p:nvSpPr>
            <p:cNvPr id="111" name="Line 44"/>
            <p:cNvSpPr>
              <a:spLocks noChangeShapeType="1"/>
            </p:cNvSpPr>
            <p:nvPr/>
          </p:nvSpPr>
          <p:spPr bwMode="auto">
            <a:xfrm flipH="1" flipV="1">
              <a:off x="625285" y="2679472"/>
              <a:ext cx="599362" cy="272459"/>
            </a:xfrm>
            <a:prstGeom prst="line">
              <a:avLst/>
            </a:prstGeom>
            <a:noFill/>
            <a:ln w="50800">
              <a:solidFill>
                <a:srgbClr val="FC0128"/>
              </a:solidFill>
              <a:round/>
              <a:headEnd type="stealth" w="med" len="med"/>
              <a:tailEnd type="none" w="sm" len="sm"/>
            </a:ln>
          </p:spPr>
          <p:txBody>
            <a:bodyPr/>
            <a:lstStyle/>
            <a:p>
              <a:endParaRPr lang="en-US" sz="500" dirty="0"/>
            </a:p>
          </p:txBody>
        </p:sp>
        <p:sp>
          <p:nvSpPr>
            <p:cNvPr id="112" name="TextBox 111"/>
            <p:cNvSpPr txBox="1"/>
            <p:nvPr/>
          </p:nvSpPr>
          <p:spPr>
            <a:xfrm>
              <a:off x="146235" y="3438564"/>
              <a:ext cx="596472" cy="291505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500" dirty="0">
                  <a:solidFill>
                    <a:schemeClr val="tx2"/>
                  </a:solidFill>
                </a:rPr>
                <a:t>update</a:t>
              </a: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147956" y="2583310"/>
              <a:ext cx="596472" cy="291505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500" dirty="0">
                  <a:solidFill>
                    <a:schemeClr val="tx2"/>
                  </a:solidFill>
                </a:rPr>
                <a:t>update</a:t>
              </a:r>
            </a:p>
          </p:txBody>
        </p:sp>
        <p:sp>
          <p:nvSpPr>
            <p:cNvPr id="114" name="Rectangle 113"/>
            <p:cNvSpPr/>
            <p:nvPr/>
          </p:nvSpPr>
          <p:spPr bwMode="auto">
            <a:xfrm>
              <a:off x="1214887" y="2907907"/>
              <a:ext cx="948110" cy="53543"/>
            </a:xfrm>
            <a:prstGeom prst="rect">
              <a:avLst/>
            </a:prstGeom>
            <a:ln>
              <a:headEnd type="oval" w="med" len="med"/>
              <a:tailEnd type="triangle" w="med" len="med"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158723" indent="-158723" algn="ctr" defTabSz="1218987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</a:pPr>
              <a:endParaRPr lang="en-US" sz="2700" b="1" dirty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115" name="Rectangle 114"/>
            <p:cNvSpPr/>
            <p:nvPr/>
          </p:nvSpPr>
          <p:spPr bwMode="auto">
            <a:xfrm>
              <a:off x="1218062" y="3051152"/>
              <a:ext cx="948110" cy="53543"/>
            </a:xfrm>
            <a:prstGeom prst="rect">
              <a:avLst/>
            </a:prstGeom>
            <a:ln>
              <a:headEnd type="oval" w="med" len="med"/>
              <a:tailEnd type="triangle" w="med" len="med"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158723" indent="-158723" algn="ctr" defTabSz="1218987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</a:pPr>
              <a:endParaRPr lang="en-US" sz="2700" b="1" dirty="0">
                <a:solidFill>
                  <a:schemeClr val="tx1"/>
                </a:solidFill>
                <a:latin typeface="Arial" charset="0"/>
              </a:endParaRPr>
            </a:p>
          </p:txBody>
        </p:sp>
      </p:grpSp>
      <p:grpSp>
        <p:nvGrpSpPr>
          <p:cNvPr id="116" name="Group 121"/>
          <p:cNvGrpSpPr/>
          <p:nvPr/>
        </p:nvGrpSpPr>
        <p:grpSpPr>
          <a:xfrm>
            <a:off x="8839201" y="2286000"/>
            <a:ext cx="2439307" cy="3871134"/>
            <a:chOff x="1073683" y="1067145"/>
            <a:chExt cx="1829957" cy="3491882"/>
          </a:xfrm>
        </p:grpSpPr>
        <p:sp>
          <p:nvSpPr>
            <p:cNvPr id="117" name="TextBox 116"/>
            <p:cNvSpPr txBox="1"/>
            <p:nvPr/>
          </p:nvSpPr>
          <p:spPr>
            <a:xfrm>
              <a:off x="1383647" y="1067145"/>
              <a:ext cx="579636" cy="291505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spAutoFit/>
            </a:bodyPr>
            <a:lstStyle/>
            <a:p>
              <a:r>
                <a:rPr lang="en-US" sz="1500" dirty="0">
                  <a:solidFill>
                    <a:srgbClr val="000000"/>
                  </a:solidFill>
                </a:rPr>
                <a:t>Report</a:t>
              </a:r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1073683" y="4267522"/>
              <a:ext cx="1215794" cy="291505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spAutoFit/>
            </a:bodyPr>
            <a:lstStyle/>
            <a:p>
              <a:r>
                <a:rPr lang="en-US" sz="1500" dirty="0">
                  <a:solidFill>
                    <a:srgbClr val="000000"/>
                  </a:solidFill>
                </a:rPr>
                <a:t>Accurate Results</a:t>
              </a:r>
            </a:p>
          </p:txBody>
        </p:sp>
        <p:grpSp>
          <p:nvGrpSpPr>
            <p:cNvPr id="119" name="Group 119"/>
            <p:cNvGrpSpPr/>
            <p:nvPr/>
          </p:nvGrpSpPr>
          <p:grpSpPr>
            <a:xfrm>
              <a:off x="1627484" y="1349979"/>
              <a:ext cx="1276156" cy="2940969"/>
              <a:chOff x="2934464" y="1323435"/>
              <a:chExt cx="1004869" cy="2996929"/>
            </a:xfrm>
          </p:grpSpPr>
          <p:cxnSp>
            <p:nvCxnSpPr>
              <p:cNvPr id="120" name="Elbow Connector 119"/>
              <p:cNvCxnSpPr/>
              <p:nvPr/>
            </p:nvCxnSpPr>
            <p:spPr>
              <a:xfrm rot="16200000" flipH="1">
                <a:off x="2647725" y="1610175"/>
                <a:ext cx="1578348" cy="1004868"/>
              </a:xfrm>
              <a:prstGeom prst="bentConnector3">
                <a:avLst>
                  <a:gd name="adj1" fmla="val 78906"/>
                </a:avLst>
              </a:prstGeom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1" name="Elbow Connector 120"/>
              <p:cNvCxnSpPr/>
              <p:nvPr/>
            </p:nvCxnSpPr>
            <p:spPr>
              <a:xfrm rot="5400000" flipH="1" flipV="1">
                <a:off x="2726143" y="3108895"/>
                <a:ext cx="1419790" cy="1003148"/>
              </a:xfrm>
              <a:prstGeom prst="bentConnector3">
                <a:avLst>
                  <a:gd name="adj1" fmla="val 78226"/>
                </a:avLst>
              </a:prstGeom>
              <a:ln>
                <a:headEnd type="triangle"/>
                <a:tailEnd type="none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</p:grpSp>
      </p:grpSp>
      <p:pic>
        <p:nvPicPr>
          <p:cNvPr id="122" name="Picture 121" descr="ic-BusinessIntelligenceCampaign-gray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4571" y="1865762"/>
            <a:ext cx="1178404" cy="979793"/>
          </a:xfrm>
          <a:prstGeom prst="rect">
            <a:avLst/>
          </a:prstGeom>
        </p:spPr>
      </p:pic>
      <p:sp>
        <p:nvSpPr>
          <p:cNvPr id="123" name="TextBox 122"/>
          <p:cNvSpPr txBox="1"/>
          <p:nvPr/>
        </p:nvSpPr>
        <p:spPr>
          <a:xfrm>
            <a:off x="7560396" y="3762182"/>
            <a:ext cx="939799" cy="323165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r>
              <a:rPr lang="en-US" sz="1500" dirty="0">
                <a:solidFill>
                  <a:srgbClr val="000000"/>
                </a:solidFill>
              </a:rPr>
              <a:t>Update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7522296" y="4689282"/>
            <a:ext cx="939799" cy="323165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r>
              <a:rPr lang="en-US" sz="1500" dirty="0">
                <a:solidFill>
                  <a:srgbClr val="000000"/>
                </a:solidFill>
              </a:rPr>
              <a:t>Update</a:t>
            </a:r>
          </a:p>
        </p:txBody>
      </p:sp>
    </p:spTree>
    <p:extLst>
      <p:ext uri="{BB962C8B-B14F-4D97-AF65-F5344CB8AC3E}">
        <p14:creationId xmlns:p14="http://schemas.microsoft.com/office/powerpoint/2010/main" val="4291919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00"/>
                            </p:stCondLst>
                            <p:childTnLst>
                              <p:par>
                                <p:cTn id="11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3" dur="10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Advanced SQL Engine </a:t>
            </a:r>
            <a:endParaRPr kumimoji="1" lang="ja-JP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277600" y="6556248"/>
            <a:ext cx="381661" cy="18288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51EAA63-D034-42AE-91FA-B13B9518C7BE}" type="slidenum">
              <a:rPr lang="es-ES" smtClean="0"/>
              <a:pPr/>
              <a:t>44</a:t>
            </a:fld>
            <a:endParaRPr lang="uk-UA" dirty="0"/>
          </a:p>
        </p:txBody>
      </p:sp>
      <p:grpSp>
        <p:nvGrpSpPr>
          <p:cNvPr id="62" name="Group 61"/>
          <p:cNvGrpSpPr/>
          <p:nvPr/>
        </p:nvGrpSpPr>
        <p:grpSpPr>
          <a:xfrm>
            <a:off x="914400" y="1600200"/>
            <a:ext cx="10210800" cy="2438400"/>
            <a:chOff x="1065212" y="2438400"/>
            <a:chExt cx="10210800" cy="2438400"/>
          </a:xfrm>
        </p:grpSpPr>
        <p:grpSp>
          <p:nvGrpSpPr>
            <p:cNvPr id="28" name="Group 27"/>
            <p:cNvGrpSpPr/>
            <p:nvPr/>
          </p:nvGrpSpPr>
          <p:grpSpPr>
            <a:xfrm>
              <a:off x="1647615" y="3126563"/>
              <a:ext cx="2694197" cy="930902"/>
              <a:chOff x="989012" y="2362200"/>
              <a:chExt cx="3276600" cy="1143000"/>
            </a:xfrm>
          </p:grpSpPr>
          <p:sp>
            <p:nvSpPr>
              <p:cNvPr id="3" name="TextBox 2"/>
              <p:cNvSpPr txBox="1"/>
              <p:nvPr/>
            </p:nvSpPr>
            <p:spPr>
              <a:xfrm>
                <a:off x="1141412" y="2667000"/>
                <a:ext cx="457200" cy="3048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100" b="1" dirty="0">
                    <a:solidFill>
                      <a:srgbClr val="FF0000"/>
                    </a:solidFill>
                  </a:rPr>
                  <a:t>SQL</a:t>
                </a:r>
              </a:p>
            </p:txBody>
          </p:sp>
          <p:sp>
            <p:nvSpPr>
              <p:cNvPr id="7" name="TextBox 6"/>
              <p:cNvSpPr txBox="1"/>
              <p:nvPr/>
            </p:nvSpPr>
            <p:spPr>
              <a:xfrm>
                <a:off x="1370012" y="2895600"/>
                <a:ext cx="457200" cy="3048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400" b="1" dirty="0">
                    <a:solidFill>
                      <a:srgbClr val="FF0000"/>
                    </a:solidFill>
                  </a:rPr>
                  <a:t>SQL</a:t>
                </a:r>
              </a:p>
            </p:txBody>
          </p:sp>
          <p:sp>
            <p:nvSpPr>
              <p:cNvPr id="8" name="TextBox 7"/>
              <p:cNvSpPr txBox="1"/>
              <p:nvPr/>
            </p:nvSpPr>
            <p:spPr>
              <a:xfrm>
                <a:off x="2436812" y="2667000"/>
                <a:ext cx="457200" cy="3048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400" b="1" dirty="0">
                    <a:solidFill>
                      <a:srgbClr val="FF0000"/>
                    </a:solidFill>
                  </a:rPr>
                  <a:t>SQL</a:t>
                </a: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2132012" y="2819400"/>
                <a:ext cx="457200" cy="3048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200" b="1" dirty="0">
                    <a:solidFill>
                      <a:srgbClr val="FF0000"/>
                    </a:solidFill>
                  </a:rPr>
                  <a:t>SQL</a:t>
                </a:r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1522412" y="2362200"/>
                <a:ext cx="457200" cy="3810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2800" b="1" dirty="0">
                    <a:solidFill>
                      <a:srgbClr val="FF0000"/>
                    </a:solidFill>
                  </a:rPr>
                  <a:t>SQL</a:t>
                </a:r>
              </a:p>
            </p:txBody>
          </p:sp>
          <p:sp>
            <p:nvSpPr>
              <p:cNvPr id="11" name="TextBox 10"/>
              <p:cNvSpPr txBox="1"/>
              <p:nvPr/>
            </p:nvSpPr>
            <p:spPr>
              <a:xfrm>
                <a:off x="1751012" y="2819400"/>
                <a:ext cx="457200" cy="3048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100" b="1" dirty="0">
                    <a:solidFill>
                      <a:srgbClr val="FF0000"/>
                    </a:solidFill>
                  </a:rPr>
                  <a:t>SQL</a:t>
                </a: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1751012" y="3048000"/>
                <a:ext cx="457200" cy="3048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2400" b="1" dirty="0">
                    <a:solidFill>
                      <a:srgbClr val="FF0000"/>
                    </a:solidFill>
                  </a:rPr>
                  <a:t>SQL</a:t>
                </a: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1065212" y="2438400"/>
                <a:ext cx="457200" cy="3048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200" b="1" dirty="0">
                    <a:solidFill>
                      <a:srgbClr val="FF0000"/>
                    </a:solidFill>
                  </a:rPr>
                  <a:t>SQL</a:t>
                </a: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989012" y="2895600"/>
                <a:ext cx="457200" cy="3048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200" b="1" dirty="0">
                    <a:solidFill>
                      <a:srgbClr val="FF0000"/>
                    </a:solidFill>
                  </a:rPr>
                  <a:t>SQL</a:t>
                </a: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1217612" y="3200400"/>
                <a:ext cx="457200" cy="3048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200" b="1" dirty="0">
                    <a:solidFill>
                      <a:srgbClr val="FF0000"/>
                    </a:solidFill>
                  </a:rPr>
                  <a:t>SQL</a:t>
                </a: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2513012" y="2895600"/>
                <a:ext cx="457200" cy="3048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b="1" dirty="0">
                    <a:solidFill>
                      <a:srgbClr val="FF0000"/>
                    </a:solidFill>
                  </a:rPr>
                  <a:t>SQL</a:t>
                </a:r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2513012" y="3200400"/>
                <a:ext cx="457200" cy="3048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200" b="1" dirty="0">
                    <a:solidFill>
                      <a:srgbClr val="FF0000"/>
                    </a:solidFill>
                  </a:rPr>
                  <a:t>SQL</a:t>
                </a: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2284412" y="2438400"/>
                <a:ext cx="457200" cy="3048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100" b="1" dirty="0">
                    <a:solidFill>
                      <a:srgbClr val="FF0000"/>
                    </a:solidFill>
                  </a:rPr>
                  <a:t>SQL</a:t>
                </a: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2894012" y="2667000"/>
                <a:ext cx="457200" cy="3048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100" b="1" dirty="0">
                    <a:solidFill>
                      <a:srgbClr val="FF0000"/>
                    </a:solidFill>
                  </a:rPr>
                  <a:t>SQL</a:t>
                </a: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3046412" y="2895600"/>
                <a:ext cx="457200" cy="3048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400" b="1" dirty="0">
                    <a:solidFill>
                      <a:srgbClr val="FF0000"/>
                    </a:solidFill>
                  </a:rPr>
                  <a:t>SQL</a:t>
                </a: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2741612" y="2438400"/>
                <a:ext cx="457200" cy="3048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200" b="1" dirty="0">
                    <a:solidFill>
                      <a:srgbClr val="FF0000"/>
                    </a:solidFill>
                  </a:rPr>
                  <a:t>SQL</a:t>
                </a: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3046412" y="3200400"/>
                <a:ext cx="457200" cy="3048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200" b="1" dirty="0">
                    <a:solidFill>
                      <a:srgbClr val="FF0000"/>
                    </a:solidFill>
                  </a:rPr>
                  <a:t>SQL</a:t>
                </a: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3198812" y="2362200"/>
                <a:ext cx="457200" cy="3810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2800" b="1" dirty="0">
                    <a:solidFill>
                      <a:srgbClr val="FF0000"/>
                    </a:solidFill>
                  </a:rPr>
                  <a:t>SQL</a:t>
                </a:r>
              </a:p>
            </p:txBody>
          </p:sp>
          <p:sp>
            <p:nvSpPr>
              <p:cNvPr id="25" name="TextBox 24"/>
              <p:cNvSpPr txBox="1"/>
              <p:nvPr/>
            </p:nvSpPr>
            <p:spPr>
              <a:xfrm>
                <a:off x="3427412" y="2819400"/>
                <a:ext cx="457200" cy="3048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100" b="1" dirty="0">
                    <a:solidFill>
                      <a:srgbClr val="FF0000"/>
                    </a:solidFill>
                  </a:rPr>
                  <a:t>SQL</a:t>
                </a:r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3427412" y="3048000"/>
                <a:ext cx="457200" cy="3048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2400" b="1" dirty="0">
                    <a:solidFill>
                      <a:srgbClr val="FF0000"/>
                    </a:solidFill>
                  </a:rPr>
                  <a:t>SQL</a:t>
                </a:r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3808412" y="2895600"/>
                <a:ext cx="457200" cy="3048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200" b="1" dirty="0">
                    <a:solidFill>
                      <a:srgbClr val="FF0000"/>
                    </a:solidFill>
                  </a:rPr>
                  <a:t>SQL</a:t>
                </a:r>
              </a:p>
            </p:txBody>
          </p:sp>
        </p:grpSp>
        <p:sp>
          <p:nvSpPr>
            <p:cNvPr id="29" name="Chevron 28"/>
            <p:cNvSpPr/>
            <p:nvPr/>
          </p:nvSpPr>
          <p:spPr>
            <a:xfrm>
              <a:off x="1065212" y="3126563"/>
              <a:ext cx="10210800" cy="992963"/>
            </a:xfrm>
            <a:prstGeom prst="chevron">
              <a:avLst/>
            </a:prstGeom>
            <a:solidFill>
              <a:schemeClr val="bg2">
                <a:alpha val="49000"/>
              </a:scheme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>
                <a:solidFill>
                  <a:schemeClr val="tx1"/>
                </a:solidFill>
              </a:endParaRP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 amt="53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732212" y="2438400"/>
              <a:ext cx="1864815" cy="2057400"/>
            </a:xfrm>
            <a:prstGeom prst="ellipse">
              <a:avLst/>
            </a:prstGeom>
            <a:ln>
              <a:noFill/>
            </a:ln>
            <a:effectLst>
              <a:softEdge rad="12700"/>
            </a:effectLst>
          </p:spPr>
        </p:pic>
        <p:grpSp>
          <p:nvGrpSpPr>
            <p:cNvPr id="32" name="Group 31"/>
            <p:cNvGrpSpPr/>
            <p:nvPr/>
          </p:nvGrpSpPr>
          <p:grpSpPr>
            <a:xfrm>
              <a:off x="8649521" y="2940382"/>
              <a:ext cx="563902" cy="310301"/>
              <a:chOff x="8151812" y="3886200"/>
              <a:chExt cx="3503613" cy="2169229"/>
            </a:xfrm>
          </p:grpSpPr>
          <p:pic>
            <p:nvPicPr>
              <p:cNvPr id="33" name="Picture 32" descr="table-sales-1.png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51812" y="3886200"/>
                <a:ext cx="3503613" cy="2169229"/>
              </a:xfrm>
              <a:prstGeom prst="rect">
                <a:avLst/>
              </a:prstGeom>
            </p:spPr>
          </p:pic>
          <p:pic>
            <p:nvPicPr>
              <p:cNvPr id="34" name="Picture 33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304212" y="4038600"/>
                <a:ext cx="2151063" cy="762000"/>
              </a:xfrm>
              <a:prstGeom prst="rect">
                <a:avLst/>
              </a:prstGeom>
            </p:spPr>
          </p:pic>
        </p:grpSp>
        <p:grpSp>
          <p:nvGrpSpPr>
            <p:cNvPr id="35" name="Group 34"/>
            <p:cNvGrpSpPr/>
            <p:nvPr/>
          </p:nvGrpSpPr>
          <p:grpSpPr>
            <a:xfrm>
              <a:off x="10403882" y="3312743"/>
              <a:ext cx="872130" cy="546717"/>
              <a:chOff x="1827212" y="3200400"/>
              <a:chExt cx="1822658" cy="1128482"/>
            </a:xfrm>
          </p:grpSpPr>
          <p:pic>
            <p:nvPicPr>
              <p:cNvPr id="36" name="Picture 35" descr="table-sales.png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27212" y="3200400"/>
                <a:ext cx="1822658" cy="1128482"/>
              </a:xfrm>
              <a:prstGeom prst="rect">
                <a:avLst/>
              </a:prstGeom>
            </p:spPr>
          </p:pic>
          <p:sp>
            <p:nvSpPr>
              <p:cNvPr id="37" name="TextBox 36"/>
              <p:cNvSpPr txBox="1"/>
              <p:nvPr/>
            </p:nvSpPr>
            <p:spPr>
              <a:xfrm>
                <a:off x="1903412" y="3276600"/>
                <a:ext cx="1143000" cy="38100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1050" b="1" dirty="0">
                    <a:solidFill>
                      <a:schemeClr val="accent5"/>
                    </a:solidFill>
                  </a:rPr>
                  <a:t>SALES</a:t>
                </a:r>
              </a:p>
            </p:txBody>
          </p:sp>
        </p:grpSp>
        <p:grpSp>
          <p:nvGrpSpPr>
            <p:cNvPr id="38" name="Group 37"/>
            <p:cNvGrpSpPr/>
            <p:nvPr/>
          </p:nvGrpSpPr>
          <p:grpSpPr>
            <a:xfrm>
              <a:off x="9338734" y="2754202"/>
              <a:ext cx="917448" cy="571485"/>
              <a:chOff x="2132012" y="1447800"/>
              <a:chExt cx="1917367" cy="1179605"/>
            </a:xfrm>
          </p:grpSpPr>
          <p:pic>
            <p:nvPicPr>
              <p:cNvPr id="39" name="Picture 38" descr="table-sales-1.png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32012" y="1447800"/>
                <a:ext cx="1917367" cy="1179605"/>
              </a:xfrm>
              <a:prstGeom prst="rect">
                <a:avLst/>
              </a:prstGeom>
            </p:spPr>
          </p:pic>
          <p:sp>
            <p:nvSpPr>
              <p:cNvPr id="40" name="TextBox 39"/>
              <p:cNvSpPr txBox="1"/>
              <p:nvPr/>
            </p:nvSpPr>
            <p:spPr>
              <a:xfrm>
                <a:off x="2208212" y="1524000"/>
                <a:ext cx="1143000" cy="38100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1050" b="1" dirty="0">
                    <a:solidFill>
                      <a:schemeClr val="accent5"/>
                    </a:solidFill>
                  </a:rPr>
                  <a:t>PROFIT</a:t>
                </a:r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8900144" y="3374803"/>
              <a:ext cx="691241" cy="315422"/>
              <a:chOff x="4984087" y="4916272"/>
              <a:chExt cx="2099338" cy="1291557"/>
            </a:xfrm>
          </p:grpSpPr>
          <p:grpSp>
            <p:nvGrpSpPr>
              <p:cNvPr id="42" name="Group 41"/>
              <p:cNvGrpSpPr/>
              <p:nvPr/>
            </p:nvGrpSpPr>
            <p:grpSpPr>
              <a:xfrm>
                <a:off x="4984087" y="4916272"/>
                <a:ext cx="2099338" cy="1291557"/>
                <a:chOff x="3579812" y="4038600"/>
                <a:chExt cx="3503613" cy="2169229"/>
              </a:xfrm>
            </p:grpSpPr>
            <p:pic>
              <p:nvPicPr>
                <p:cNvPr id="44" name="Picture 43" descr="table-sales-1.png"/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79812" y="4038600"/>
                  <a:ext cx="3503613" cy="2169229"/>
                </a:xfrm>
                <a:prstGeom prst="rect">
                  <a:avLst/>
                </a:prstGeom>
              </p:spPr>
            </p:pic>
            <p:pic>
              <p:nvPicPr>
                <p:cNvPr id="45" name="Picture 44"/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 flipH="1">
                  <a:off x="5965824" y="4193336"/>
                  <a:ext cx="966788" cy="912064"/>
                </a:xfrm>
                <a:prstGeom prst="rect">
                  <a:avLst/>
                </a:prstGeom>
              </p:spPr>
            </p:pic>
          </p:grpSp>
          <p:sp>
            <p:nvSpPr>
              <p:cNvPr id="43" name="TextBox 42"/>
              <p:cNvSpPr txBox="1"/>
              <p:nvPr/>
            </p:nvSpPr>
            <p:spPr>
              <a:xfrm>
                <a:off x="5103812" y="5029200"/>
                <a:ext cx="1219200" cy="38100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700" b="1" dirty="0">
                    <a:solidFill>
                      <a:schemeClr val="accent5"/>
                    </a:solidFill>
                  </a:rPr>
                  <a:t>UMSATZ</a:t>
                </a:r>
              </a:p>
            </p:txBody>
          </p:sp>
        </p:grpSp>
        <p:grpSp>
          <p:nvGrpSpPr>
            <p:cNvPr id="46" name="Group 45"/>
            <p:cNvGrpSpPr/>
            <p:nvPr/>
          </p:nvGrpSpPr>
          <p:grpSpPr>
            <a:xfrm>
              <a:off x="9714668" y="3498924"/>
              <a:ext cx="558852" cy="360537"/>
              <a:chOff x="6094412" y="2362200"/>
              <a:chExt cx="1822658" cy="1128482"/>
            </a:xfrm>
          </p:grpSpPr>
          <p:pic>
            <p:nvPicPr>
              <p:cNvPr id="47" name="Picture 46" descr="table-sales.png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94412" y="2362200"/>
                <a:ext cx="1822658" cy="1128482"/>
              </a:xfrm>
              <a:prstGeom prst="rect">
                <a:avLst/>
              </a:prstGeom>
            </p:spPr>
          </p:pic>
          <p:sp>
            <p:nvSpPr>
              <p:cNvPr id="48" name="TextBox 47"/>
              <p:cNvSpPr txBox="1"/>
              <p:nvPr/>
            </p:nvSpPr>
            <p:spPr>
              <a:xfrm>
                <a:off x="6170612" y="2438400"/>
                <a:ext cx="1143000" cy="38100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700" b="1" dirty="0">
                    <a:solidFill>
                      <a:schemeClr val="accent5"/>
                    </a:solidFill>
                  </a:rPr>
                  <a:t>CAPITAL</a:t>
                </a:r>
              </a:p>
            </p:txBody>
          </p:sp>
        </p:grpSp>
        <p:grpSp>
          <p:nvGrpSpPr>
            <p:cNvPr id="49" name="Group 48"/>
            <p:cNvGrpSpPr/>
            <p:nvPr/>
          </p:nvGrpSpPr>
          <p:grpSpPr>
            <a:xfrm>
              <a:off x="8336242" y="3809224"/>
              <a:ext cx="872130" cy="546717"/>
              <a:chOff x="1827212" y="3200400"/>
              <a:chExt cx="1822658" cy="1128482"/>
            </a:xfrm>
          </p:grpSpPr>
          <p:pic>
            <p:nvPicPr>
              <p:cNvPr id="50" name="Picture 49" descr="table-sales.png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27212" y="3200400"/>
                <a:ext cx="1822658" cy="1128482"/>
              </a:xfrm>
              <a:prstGeom prst="rect">
                <a:avLst/>
              </a:prstGeom>
            </p:spPr>
          </p:pic>
          <p:sp>
            <p:nvSpPr>
              <p:cNvPr id="51" name="TextBox 50"/>
              <p:cNvSpPr txBox="1"/>
              <p:nvPr/>
            </p:nvSpPr>
            <p:spPr>
              <a:xfrm>
                <a:off x="1903412" y="3276600"/>
                <a:ext cx="1143000" cy="38100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1000" b="1" dirty="0">
                    <a:solidFill>
                      <a:schemeClr val="accent5"/>
                    </a:solidFill>
                  </a:rPr>
                  <a:t>RENDITO</a:t>
                </a:r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9276078" y="3871285"/>
              <a:ext cx="563902" cy="310301"/>
              <a:chOff x="8151812" y="3886200"/>
              <a:chExt cx="3503613" cy="2169229"/>
            </a:xfrm>
          </p:grpSpPr>
          <p:pic>
            <p:nvPicPr>
              <p:cNvPr id="53" name="Picture 52" descr="table-sales-1.png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51812" y="3886200"/>
                <a:ext cx="3503613" cy="2169229"/>
              </a:xfrm>
              <a:prstGeom prst="rect">
                <a:avLst/>
              </a:prstGeom>
            </p:spPr>
          </p:pic>
          <p:pic>
            <p:nvPicPr>
              <p:cNvPr id="54" name="Picture 53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304212" y="4038600"/>
                <a:ext cx="2151063" cy="762000"/>
              </a:xfrm>
              <a:prstGeom prst="rect">
                <a:avLst/>
              </a:prstGeom>
            </p:spPr>
          </p:pic>
        </p:grpSp>
        <p:grpSp>
          <p:nvGrpSpPr>
            <p:cNvPr id="55" name="Group 54"/>
            <p:cNvGrpSpPr/>
            <p:nvPr/>
          </p:nvGrpSpPr>
          <p:grpSpPr>
            <a:xfrm>
              <a:off x="10090603" y="3933345"/>
              <a:ext cx="689213" cy="372361"/>
              <a:chOff x="8151812" y="3886200"/>
              <a:chExt cx="3503613" cy="2169229"/>
            </a:xfrm>
          </p:grpSpPr>
          <p:pic>
            <p:nvPicPr>
              <p:cNvPr id="56" name="Picture 55" descr="table-sales-1.png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51812" y="3886200"/>
                <a:ext cx="3503613" cy="2169229"/>
              </a:xfrm>
              <a:prstGeom prst="rect">
                <a:avLst/>
              </a:prstGeom>
            </p:spPr>
          </p:pic>
          <p:pic>
            <p:nvPicPr>
              <p:cNvPr id="57" name="Picture 56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304212" y="4038600"/>
                <a:ext cx="2151063" cy="762000"/>
              </a:xfrm>
              <a:prstGeom prst="rect">
                <a:avLst/>
              </a:prstGeom>
            </p:spPr>
          </p:pic>
        </p:grpSp>
        <p:grpSp>
          <p:nvGrpSpPr>
            <p:cNvPr id="58" name="Group 57"/>
            <p:cNvGrpSpPr/>
            <p:nvPr/>
          </p:nvGrpSpPr>
          <p:grpSpPr>
            <a:xfrm>
              <a:off x="8461553" y="3498924"/>
              <a:ext cx="375935" cy="248241"/>
              <a:chOff x="8151812" y="3886200"/>
              <a:chExt cx="3503613" cy="2169229"/>
            </a:xfrm>
          </p:grpSpPr>
          <p:pic>
            <p:nvPicPr>
              <p:cNvPr id="59" name="Picture 58" descr="table-sales-1.png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51812" y="3886200"/>
                <a:ext cx="3503613" cy="2169229"/>
              </a:xfrm>
              <a:prstGeom prst="rect">
                <a:avLst/>
              </a:prstGeom>
            </p:spPr>
          </p:pic>
          <p:pic>
            <p:nvPicPr>
              <p:cNvPr id="60" name="Picture 59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304212" y="4038600"/>
                <a:ext cx="2151063" cy="762000"/>
              </a:xfrm>
              <a:prstGeom prst="rect">
                <a:avLst/>
              </a:prstGeom>
            </p:spPr>
          </p:pic>
        </p:grpSp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9" cstate="print">
              <a:alphaModFix amt="68000"/>
            </a:blip>
            <a:stretch>
              <a:fillRect/>
            </a:stretch>
          </p:blipFill>
          <p:spPr>
            <a:xfrm>
              <a:off x="7161212" y="2516287"/>
              <a:ext cx="838200" cy="2360513"/>
            </a:xfrm>
            <a:prstGeom prst="rect">
              <a:avLst/>
            </a:prstGeom>
          </p:spPr>
        </p:pic>
        <p:pic>
          <p:nvPicPr>
            <p:cNvPr id="61" name="Picture 60" descr="performance-5x.png"/>
            <p:cNvPicPr>
              <a:picLocks noChangeAspect="1"/>
            </p:cNvPicPr>
            <p:nvPr/>
          </p:nvPicPr>
          <p:blipFill>
            <a:blip r:embed="rId10">
              <a:alphaModFix amt="7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53225" y="2819400"/>
              <a:ext cx="1627187" cy="1627187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027612" y="3048000"/>
              <a:ext cx="914400" cy="617365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865812" y="2743200"/>
              <a:ext cx="1143000" cy="1048624"/>
            </a:xfrm>
            <a:prstGeom prst="rect">
              <a:avLst/>
            </a:prstGeom>
          </p:spPr>
        </p:pic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027612" y="3581400"/>
              <a:ext cx="533400" cy="652818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1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332412" y="3657600"/>
              <a:ext cx="952500" cy="927100"/>
            </a:xfrm>
            <a:prstGeom prst="rect">
              <a:avLst/>
            </a:prstGeom>
          </p:spPr>
        </p:pic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1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246812" y="3804176"/>
              <a:ext cx="685800" cy="463024"/>
            </a:xfrm>
            <a:prstGeom prst="rect">
              <a:avLst/>
            </a:prstGeom>
          </p:spPr>
        </p:pic>
      </p:grpSp>
      <p:grpSp>
        <p:nvGrpSpPr>
          <p:cNvPr id="63" name="Group 62"/>
          <p:cNvGrpSpPr/>
          <p:nvPr/>
        </p:nvGrpSpPr>
        <p:grpSpPr>
          <a:xfrm>
            <a:off x="533400" y="4114800"/>
            <a:ext cx="3124200" cy="1828800"/>
            <a:chOff x="531812" y="4114800"/>
            <a:chExt cx="3124200" cy="1828800"/>
          </a:xfrm>
        </p:grpSpPr>
        <p:sp>
          <p:nvSpPr>
            <p:cNvPr id="71" name="Content Placeholder 5"/>
            <p:cNvSpPr txBox="1">
              <a:spLocks/>
            </p:cNvSpPr>
            <p:nvPr/>
          </p:nvSpPr>
          <p:spPr>
            <a:xfrm>
              <a:off x="608012" y="4114800"/>
              <a:ext cx="2667000" cy="990599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2920" indent="-228600" algn="l" defTabSz="914400" rtl="0" eaLnBrk="1" latinLnBrk="0" hangingPunct="1">
                <a:lnSpc>
                  <a:spcPct val="90000"/>
                </a:lnSpc>
                <a:spcBef>
                  <a:spcPts val="80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–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60120" indent="-18288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88720" indent="-18288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17320" indent="-18288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645920" indent="-18288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74520" indent="-18288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103120" indent="-18288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400" b="1" dirty="0"/>
                <a:t>Comprehensive SQL Language</a:t>
              </a:r>
              <a:endParaRPr lang="en-US" sz="1800" dirty="0"/>
            </a:p>
          </p:txBody>
        </p:sp>
        <p:sp>
          <p:nvSpPr>
            <p:cNvPr id="72" name="Content Placeholder 5"/>
            <p:cNvSpPr txBox="1">
              <a:spLocks/>
            </p:cNvSpPr>
            <p:nvPr/>
          </p:nvSpPr>
          <p:spPr>
            <a:xfrm>
              <a:off x="531812" y="4953001"/>
              <a:ext cx="3124200" cy="990599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2920" indent="-228600" algn="l" defTabSz="914400" rtl="0" eaLnBrk="1" latinLnBrk="0" hangingPunct="1">
                <a:lnSpc>
                  <a:spcPct val="90000"/>
                </a:lnSpc>
                <a:spcBef>
                  <a:spcPts val="80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–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60120" indent="-18288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88720" indent="-18288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17320" indent="-18288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645920" indent="-18288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74520" indent="-18288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103120" indent="-18288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400" b="1" dirty="0"/>
                <a:t>Any data: Structured, Semi-structured</a:t>
              </a:r>
            </a:p>
          </p:txBody>
        </p:sp>
      </p:grpSp>
      <p:sp>
        <p:nvSpPr>
          <p:cNvPr id="73" name="Content Placeholder 7"/>
          <p:cNvSpPr txBox="1">
            <a:spLocks/>
          </p:cNvSpPr>
          <p:nvPr/>
        </p:nvSpPr>
        <p:spPr>
          <a:xfrm>
            <a:off x="3810000" y="4114801"/>
            <a:ext cx="2400300" cy="15239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/>
              <a:t>Sophisticated query optimization</a:t>
            </a:r>
          </a:p>
          <a:p>
            <a:pPr marL="0" indent="0">
              <a:buNone/>
            </a:pPr>
            <a:r>
              <a:rPr lang="en-US" sz="1800" i="1" dirty="0"/>
              <a:t>Joins, aggregations, filters, indexes, query transformations</a:t>
            </a:r>
          </a:p>
        </p:txBody>
      </p:sp>
      <p:sp>
        <p:nvSpPr>
          <p:cNvPr id="74" name="Content Placeholder 7"/>
          <p:cNvSpPr txBox="1">
            <a:spLocks/>
          </p:cNvSpPr>
          <p:nvPr/>
        </p:nvSpPr>
        <p:spPr>
          <a:xfrm>
            <a:off x="6553200" y="4114800"/>
            <a:ext cx="1905000" cy="18288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/>
              <a:t>Smart processing</a:t>
            </a:r>
          </a:p>
          <a:p>
            <a:pPr marL="0" indent="0">
              <a:buNone/>
            </a:pPr>
            <a:r>
              <a:rPr lang="en-US" sz="1800" i="1" dirty="0"/>
              <a:t>Parallel, In-memory</a:t>
            </a:r>
          </a:p>
        </p:txBody>
      </p:sp>
      <p:sp>
        <p:nvSpPr>
          <p:cNvPr id="75" name="Content Placeholder 5"/>
          <p:cNvSpPr txBox="1">
            <a:spLocks/>
          </p:cNvSpPr>
          <p:nvPr/>
        </p:nvSpPr>
        <p:spPr>
          <a:xfrm>
            <a:off x="8839200" y="4114801"/>
            <a:ext cx="2667000" cy="9905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/>
              <a:t>Any Answer</a:t>
            </a:r>
          </a:p>
          <a:p>
            <a:pPr marL="0" indent="0">
              <a:buNone/>
            </a:pPr>
            <a:r>
              <a:rPr lang="en-US" sz="1800" i="1" dirty="0"/>
              <a:t>Operational, reporting, analytical, predictive</a:t>
            </a:r>
          </a:p>
        </p:txBody>
      </p:sp>
      <p:sp>
        <p:nvSpPr>
          <p:cNvPr id="64" name="Rectangle 63"/>
          <p:cNvSpPr/>
          <p:nvPr/>
        </p:nvSpPr>
        <p:spPr>
          <a:xfrm>
            <a:off x="8091615" y="392150"/>
            <a:ext cx="3886200" cy="1295400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kumimoji="1" lang="en-US" altLang="ja-JP" sz="2800" dirty="0"/>
              <a:t>Full-featured Query Processing Engine</a:t>
            </a:r>
            <a:endParaRPr kumimoji="1" lang="ja-JP" altLang="en-US" sz="2800" dirty="0"/>
          </a:p>
        </p:txBody>
      </p:sp>
    </p:spTree>
    <p:extLst>
      <p:ext uri="{BB962C8B-B14F-4D97-AF65-F5344CB8AC3E}">
        <p14:creationId xmlns:p14="http://schemas.microsoft.com/office/powerpoint/2010/main" val="342709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/>
      <p:bldP spid="74" grpId="0"/>
      <p:bldP spid="75" grpId="0"/>
      <p:bldP spid="64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ry Optimizations for JSON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>
              <a:defRPr/>
            </a:pPr>
            <a:r>
              <a:rPr lang="en-US" sz="2400" dirty="0" err="1"/>
              <a:t>Exadata</a:t>
            </a:r>
            <a:r>
              <a:rPr lang="en-US" sz="2400" dirty="0"/>
              <a:t> Smart Scans</a:t>
            </a:r>
          </a:p>
          <a:p>
            <a:pPr marL="228600" indent="-228600">
              <a:buFont typeface="Arial" pitchFamily="34" charset="0"/>
              <a:buChar char="•"/>
              <a:defRPr/>
            </a:pPr>
            <a:r>
              <a:rPr lang="en-US" sz="1800" dirty="0" err="1"/>
              <a:t>Exadata</a:t>
            </a:r>
            <a:r>
              <a:rPr lang="en-US" sz="1800" dirty="0"/>
              <a:t> Smart Scans execute portions of SQL queries on </a:t>
            </a:r>
            <a:r>
              <a:rPr lang="en-US" sz="1800" dirty="0" err="1"/>
              <a:t>Exadata</a:t>
            </a:r>
            <a:r>
              <a:rPr lang="en-US" sz="1800" dirty="0"/>
              <a:t> storage cells</a:t>
            </a:r>
          </a:p>
          <a:p>
            <a:pPr marL="228600" indent="-228600">
              <a:buFont typeface="Arial" pitchFamily="34" charset="0"/>
              <a:buChar char="•"/>
              <a:defRPr/>
            </a:pPr>
            <a:r>
              <a:rPr lang="en-US" sz="1800" dirty="0"/>
              <a:t>JSON query operations ‘pushed down’ to </a:t>
            </a:r>
            <a:r>
              <a:rPr lang="en-US" sz="1800" dirty="0" err="1"/>
              <a:t>Exadata</a:t>
            </a:r>
            <a:r>
              <a:rPr lang="en-US" sz="1800" dirty="0"/>
              <a:t> storage cells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US" sz="1400" dirty="0"/>
              <a:t>Massively parallel processing of JSON documents</a:t>
            </a:r>
          </a:p>
          <a:p>
            <a:pPr marL="228600" indent="-228600">
              <a:buFont typeface="Arial" pitchFamily="34" charset="0"/>
              <a:buChar char="•"/>
              <a:defRPr/>
            </a:pPr>
            <a:endParaRPr lang="en-US" sz="1800" dirty="0"/>
          </a:p>
          <a:p>
            <a:endParaRPr lang="en-US" sz="1800" dirty="0"/>
          </a:p>
        </p:txBody>
      </p:sp>
      <p:sp>
        <p:nvSpPr>
          <p:cNvPr id="8" name="Content Placehold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>
              <a:defRPr/>
            </a:pPr>
            <a:r>
              <a:rPr lang="en-US" altLang="ja-JP" sz="2400" dirty="0"/>
              <a:t>In-Memory Columnar Store</a:t>
            </a:r>
          </a:p>
          <a:p>
            <a:pPr lvl="0">
              <a:defRPr/>
            </a:pPr>
            <a:r>
              <a:rPr lang="en-US" altLang="ja-JP" sz="1800" dirty="0"/>
              <a:t>Virtual columns, included those generated using JSON Data Guide loaded into In-Memory Virtual Columns</a:t>
            </a:r>
          </a:p>
          <a:p>
            <a:r>
              <a:rPr lang="en-US" altLang="ja-JP" sz="1800" dirty="0"/>
              <a:t>JSON documents loaded using a highly optimized In-Memory binary format (OSON)</a:t>
            </a:r>
          </a:p>
          <a:p>
            <a:r>
              <a:rPr lang="en-US" altLang="ja-JP" sz="1800" dirty="0"/>
              <a:t>Query operations on JSON content automatically directed to In-Memory</a:t>
            </a:r>
          </a:p>
          <a:p>
            <a:endParaRPr kumimoji="1" lang="ja-JP" altLang="en-US" sz="1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277600" y="6556248"/>
            <a:ext cx="381661" cy="18288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51EAA63-D034-42AE-91FA-B13B9518C7BE}" type="slidenum">
              <a:rPr lang="es-ES" smtClean="0">
                <a:solidFill>
                  <a:srgbClr val="5F5F5F"/>
                </a:solidFill>
                <a:latin typeface="Calibri"/>
              </a:rPr>
              <a:pPr/>
              <a:t>45</a:t>
            </a:fld>
            <a:endParaRPr lang="en-US" dirty="0">
              <a:solidFill>
                <a:srgbClr val="58595B"/>
              </a:solidFill>
              <a:latin typeface="Calibri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9937017" y="2029426"/>
            <a:ext cx="2253396" cy="7375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dirty="0">
              <a:solidFill>
                <a:srgbClr val="58595B"/>
              </a:solidFill>
              <a:latin typeface="Calibri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53200" y="4038601"/>
            <a:ext cx="3226702" cy="2185655"/>
          </a:xfrm>
          <a:prstGeom prst="rect">
            <a:avLst/>
          </a:prstGeom>
        </p:spPr>
      </p:pic>
      <p:pic>
        <p:nvPicPr>
          <p:cNvPr id="45" name="Picture 44" descr="oracle-server-x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0800" y="3657601"/>
            <a:ext cx="798704" cy="2434145"/>
          </a:xfrm>
          <a:prstGeom prst="rect">
            <a:avLst/>
          </a:prstGeom>
        </p:spPr>
      </p:pic>
      <p:pic>
        <p:nvPicPr>
          <p:cNvPr id="46" name="Picture 12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28801" y="4191001"/>
            <a:ext cx="1123657" cy="770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639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2071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06FD14F-5048-4223-8394-780386A4B6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06FD14F-5048-4223-8394-780386A4B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0DD0BC-F1C8-4A4D-9A88-C3FA7D0E5AE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47D9BE0-B39E-4332-8645-8EC1C41941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err="1"/>
              <a:t>Thank</a:t>
            </a:r>
            <a:r>
              <a:rPr lang="es-ES"/>
              <a:t> </a:t>
            </a:r>
            <a:r>
              <a:rPr lang="es-ES" err="1"/>
              <a:t>you</a:t>
            </a:r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28F4EE-8CC1-46FE-B7D3-6747FD656E6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47</a:t>
            </a:fld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768095" y="5086682"/>
            <a:ext cx="18774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400" b="1">
                <a:latin typeface="Oracle Sans Light" panose="020B0403020204020204" pitchFamily="34" charset="0"/>
                <a:cs typeface="Oracle Sans Light" panose="020B0403020204020204" pitchFamily="34" charset="0"/>
              </a:rPr>
              <a:t>Oracle Spain</a:t>
            </a:r>
          </a:p>
        </p:txBody>
      </p:sp>
    </p:spTree>
    <p:extLst>
      <p:ext uri="{BB962C8B-B14F-4D97-AF65-F5344CB8AC3E}">
        <p14:creationId xmlns:p14="http://schemas.microsoft.com/office/powerpoint/2010/main" val="3110482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ng Database Consolidation Architectures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 flipV="1">
            <a:off x="2004559" y="1556658"/>
            <a:ext cx="0" cy="4376057"/>
          </a:xfrm>
          <a:prstGeom prst="straightConnector1">
            <a:avLst/>
          </a:prstGeom>
          <a:ln w="19050">
            <a:solidFill>
              <a:schemeClr val="accent5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2004560" y="5932714"/>
            <a:ext cx="7826829" cy="0"/>
          </a:xfrm>
          <a:prstGeom prst="straightConnector1">
            <a:avLst/>
          </a:prstGeom>
          <a:ln w="19050">
            <a:solidFill>
              <a:schemeClr val="accent5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2004560" y="3722918"/>
            <a:ext cx="7826829" cy="0"/>
          </a:xfrm>
          <a:prstGeom prst="line">
            <a:avLst/>
          </a:prstGeom>
          <a:ln w="19050">
            <a:solidFill>
              <a:schemeClr val="accent5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flipH="1" flipV="1">
            <a:off x="5910945" y="1556658"/>
            <a:ext cx="7029" cy="4376056"/>
          </a:xfrm>
          <a:prstGeom prst="line">
            <a:avLst/>
          </a:prstGeom>
          <a:ln w="19050">
            <a:solidFill>
              <a:schemeClr val="accent5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818017" y="1556658"/>
            <a:ext cx="1045028" cy="3374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Agility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623011" y="5985947"/>
            <a:ext cx="1143000" cy="3713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/>
              <a:t>Efficiency</a:t>
            </a:r>
            <a:endParaRPr lang="en-US" dirty="0"/>
          </a:p>
        </p:txBody>
      </p:sp>
      <p:grpSp>
        <p:nvGrpSpPr>
          <p:cNvPr id="50" name="Group 49"/>
          <p:cNvGrpSpPr/>
          <p:nvPr/>
        </p:nvGrpSpPr>
        <p:grpSpPr>
          <a:xfrm>
            <a:off x="3014778" y="1547146"/>
            <a:ext cx="1812925" cy="2001597"/>
            <a:chOff x="2915216" y="1547145"/>
            <a:chExt cx="1812925" cy="2001597"/>
          </a:xfrm>
        </p:grpSpPr>
        <p:sp>
          <p:nvSpPr>
            <p:cNvPr id="29" name="TextBox 28"/>
            <p:cNvSpPr txBox="1"/>
            <p:nvPr/>
          </p:nvSpPr>
          <p:spPr>
            <a:xfrm>
              <a:off x="2996195" y="1547145"/>
              <a:ext cx="1668427" cy="44445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900" b="1" dirty="0"/>
                <a:t>Virtual Machines</a:t>
              </a:r>
            </a:p>
          </p:txBody>
        </p:sp>
        <p:grpSp>
          <p:nvGrpSpPr>
            <p:cNvPr id="30" name="Group 29"/>
            <p:cNvGrpSpPr/>
            <p:nvPr/>
          </p:nvGrpSpPr>
          <p:grpSpPr>
            <a:xfrm>
              <a:off x="3192552" y="1831163"/>
              <a:ext cx="1233853" cy="1195339"/>
              <a:chOff x="1950562" y="3089824"/>
              <a:chExt cx="1233853" cy="1195339"/>
            </a:xfrm>
          </p:grpSpPr>
          <p:grpSp>
            <p:nvGrpSpPr>
              <p:cNvPr id="31" name="Group 30"/>
              <p:cNvGrpSpPr/>
              <p:nvPr/>
            </p:nvGrpSpPr>
            <p:grpSpPr>
              <a:xfrm>
                <a:off x="1950562" y="3089824"/>
                <a:ext cx="1233853" cy="1195339"/>
                <a:chOff x="5289568" y="2230327"/>
                <a:chExt cx="553810" cy="536383"/>
              </a:xfrm>
            </p:grpSpPr>
            <p:pic>
              <p:nvPicPr>
                <p:cNvPr id="39" name="Picture 38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5289568" y="2230327"/>
                  <a:ext cx="250839" cy="473910"/>
                </a:xfrm>
                <a:prstGeom prst="rect">
                  <a:avLst/>
                </a:prstGeom>
              </p:spPr>
            </p:pic>
            <p:pic>
              <p:nvPicPr>
                <p:cNvPr id="40" name="Picture 39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5592539" y="2230327"/>
                  <a:ext cx="250839" cy="473910"/>
                </a:xfrm>
                <a:prstGeom prst="rect">
                  <a:avLst/>
                </a:prstGeom>
              </p:spPr>
            </p:pic>
            <p:grpSp>
              <p:nvGrpSpPr>
                <p:cNvPr id="41" name="Group 40"/>
                <p:cNvGrpSpPr/>
                <p:nvPr/>
              </p:nvGrpSpPr>
              <p:grpSpPr>
                <a:xfrm>
                  <a:off x="5409892" y="2681840"/>
                  <a:ext cx="317500" cy="84870"/>
                  <a:chOff x="5409892" y="2681840"/>
                  <a:chExt cx="317500" cy="84870"/>
                </a:xfrm>
              </p:grpSpPr>
              <p:cxnSp>
                <p:nvCxnSpPr>
                  <p:cNvPr id="42" name="Straight Connector 41"/>
                  <p:cNvCxnSpPr/>
                  <p:nvPr/>
                </p:nvCxnSpPr>
                <p:spPr>
                  <a:xfrm>
                    <a:off x="5409892" y="2726692"/>
                    <a:ext cx="317500" cy="0"/>
                  </a:xfrm>
                  <a:prstGeom prst="line">
                    <a:avLst/>
                  </a:prstGeom>
                  <a:ln w="19050">
                    <a:solidFill>
                      <a:schemeClr val="tx1"/>
                    </a:solidFill>
                    <a:miter lim="800000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3" name="Straight Connector 42"/>
                  <p:cNvCxnSpPr/>
                  <p:nvPr/>
                </p:nvCxnSpPr>
                <p:spPr>
                  <a:xfrm flipV="1">
                    <a:off x="5415279" y="2682703"/>
                    <a:ext cx="0" cy="43068"/>
                  </a:xfrm>
                  <a:prstGeom prst="line">
                    <a:avLst/>
                  </a:prstGeom>
                  <a:ln w="19050">
                    <a:solidFill>
                      <a:schemeClr val="tx1"/>
                    </a:solidFill>
                    <a:miter lim="800000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4" name="Straight Connector 43"/>
                  <p:cNvCxnSpPr/>
                  <p:nvPr/>
                </p:nvCxnSpPr>
                <p:spPr>
                  <a:xfrm flipV="1">
                    <a:off x="5722603" y="2681840"/>
                    <a:ext cx="0" cy="43068"/>
                  </a:xfrm>
                  <a:prstGeom prst="line">
                    <a:avLst/>
                  </a:prstGeom>
                  <a:ln w="19050">
                    <a:solidFill>
                      <a:schemeClr val="tx1"/>
                    </a:solidFill>
                    <a:miter lim="800000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5" name="Straight Connector 44"/>
                  <p:cNvCxnSpPr/>
                  <p:nvPr/>
                </p:nvCxnSpPr>
                <p:spPr>
                  <a:xfrm flipV="1">
                    <a:off x="5571478" y="2723642"/>
                    <a:ext cx="0" cy="43068"/>
                  </a:xfrm>
                  <a:prstGeom prst="line">
                    <a:avLst/>
                  </a:prstGeom>
                  <a:ln w="19050">
                    <a:solidFill>
                      <a:schemeClr val="tx1"/>
                    </a:solidFill>
                    <a:miter lim="800000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32" name="Rectangle 31"/>
              <p:cNvSpPr/>
              <p:nvPr/>
            </p:nvSpPr>
            <p:spPr>
              <a:xfrm>
                <a:off x="2044168" y="3416300"/>
                <a:ext cx="97341" cy="135467"/>
              </a:xfrm>
              <a:prstGeom prst="rect">
                <a:avLst/>
              </a:prstGeom>
              <a:solidFill>
                <a:srgbClr val="62ABDA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33" name="Rectangle 32"/>
              <p:cNvSpPr/>
              <p:nvPr/>
            </p:nvSpPr>
            <p:spPr>
              <a:xfrm>
                <a:off x="2181967" y="3585633"/>
                <a:ext cx="97341" cy="135467"/>
              </a:xfrm>
              <a:prstGeom prst="rect">
                <a:avLst/>
              </a:prstGeom>
              <a:solidFill>
                <a:srgbClr val="62ABDA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34" name="Rectangle 33"/>
              <p:cNvSpPr/>
              <p:nvPr/>
            </p:nvSpPr>
            <p:spPr>
              <a:xfrm>
                <a:off x="2044168" y="3920067"/>
                <a:ext cx="97341" cy="135467"/>
              </a:xfrm>
              <a:prstGeom prst="rect">
                <a:avLst/>
              </a:prstGeom>
              <a:solidFill>
                <a:srgbClr val="62ABDA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35" name="Rectangle 34"/>
              <p:cNvSpPr/>
              <p:nvPr/>
            </p:nvSpPr>
            <p:spPr>
              <a:xfrm>
                <a:off x="2319263" y="3920067"/>
                <a:ext cx="97341" cy="135467"/>
              </a:xfrm>
              <a:prstGeom prst="rect">
                <a:avLst/>
              </a:prstGeom>
              <a:solidFill>
                <a:srgbClr val="62ABDA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2717093" y="3585633"/>
                <a:ext cx="97341" cy="135467"/>
              </a:xfrm>
              <a:prstGeom prst="rect">
                <a:avLst/>
              </a:prstGeom>
              <a:solidFill>
                <a:srgbClr val="62ABDA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37" name="Rectangle 36"/>
              <p:cNvSpPr/>
              <p:nvPr/>
            </p:nvSpPr>
            <p:spPr>
              <a:xfrm>
                <a:off x="2997744" y="3750733"/>
                <a:ext cx="97341" cy="135467"/>
              </a:xfrm>
              <a:prstGeom prst="rect">
                <a:avLst/>
              </a:prstGeom>
              <a:solidFill>
                <a:srgbClr val="62ABDA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2858200" y="3416300"/>
                <a:ext cx="97341" cy="135467"/>
              </a:xfrm>
              <a:prstGeom prst="rect">
                <a:avLst/>
              </a:prstGeom>
              <a:solidFill>
                <a:srgbClr val="62ABDA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/>
              </a:p>
            </p:txBody>
          </p:sp>
        </p:grpSp>
        <p:grpSp>
          <p:nvGrpSpPr>
            <p:cNvPr id="46" name="Group 45"/>
            <p:cNvGrpSpPr/>
            <p:nvPr/>
          </p:nvGrpSpPr>
          <p:grpSpPr>
            <a:xfrm>
              <a:off x="2915216" y="2986767"/>
              <a:ext cx="1812925" cy="561975"/>
              <a:chOff x="4803776" y="4803775"/>
              <a:chExt cx="1812925" cy="561975"/>
            </a:xfrm>
          </p:grpSpPr>
          <p:pic>
            <p:nvPicPr>
              <p:cNvPr id="47" name="Picture 46" descr="db-gray.png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94401" y="4803775"/>
                <a:ext cx="622300" cy="561975"/>
              </a:xfrm>
              <a:prstGeom prst="rect">
                <a:avLst/>
              </a:prstGeom>
            </p:spPr>
          </p:pic>
          <p:pic>
            <p:nvPicPr>
              <p:cNvPr id="48" name="Picture 47" descr="db-gray.png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00676" y="4803775"/>
                <a:ext cx="622300" cy="561975"/>
              </a:xfrm>
              <a:prstGeom prst="rect">
                <a:avLst/>
              </a:prstGeom>
            </p:spPr>
          </p:pic>
          <p:pic>
            <p:nvPicPr>
              <p:cNvPr id="49" name="Picture 48" descr="db-gray.png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03776" y="4803775"/>
                <a:ext cx="622300" cy="561975"/>
              </a:xfrm>
              <a:prstGeom prst="rect">
                <a:avLst/>
              </a:prstGeom>
            </p:spPr>
          </p:pic>
        </p:grpSp>
      </p:grpSp>
      <p:grpSp>
        <p:nvGrpSpPr>
          <p:cNvPr id="65" name="Group 64"/>
          <p:cNvGrpSpPr/>
          <p:nvPr/>
        </p:nvGrpSpPr>
        <p:grpSpPr>
          <a:xfrm>
            <a:off x="3017046" y="3866834"/>
            <a:ext cx="1812925" cy="1961293"/>
            <a:chOff x="3015457" y="3714434"/>
            <a:chExt cx="1812925" cy="1961293"/>
          </a:xfrm>
        </p:grpSpPr>
        <p:sp>
          <p:nvSpPr>
            <p:cNvPr id="51" name="TextBox 50"/>
            <p:cNvSpPr txBox="1"/>
            <p:nvPr/>
          </p:nvSpPr>
          <p:spPr>
            <a:xfrm>
              <a:off x="3078070" y="3714434"/>
              <a:ext cx="1668427" cy="44445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900" b="1" dirty="0"/>
                <a:t>Stacked Databases</a:t>
              </a:r>
            </a:p>
          </p:txBody>
        </p:sp>
        <p:grpSp>
          <p:nvGrpSpPr>
            <p:cNvPr id="52" name="Group 51"/>
            <p:cNvGrpSpPr/>
            <p:nvPr/>
          </p:nvGrpSpPr>
          <p:grpSpPr>
            <a:xfrm>
              <a:off x="3303355" y="3961684"/>
              <a:ext cx="1233853" cy="1195339"/>
              <a:chOff x="5289568" y="2230327"/>
              <a:chExt cx="553810" cy="536383"/>
            </a:xfrm>
          </p:grpSpPr>
          <p:pic>
            <p:nvPicPr>
              <p:cNvPr id="53" name="Picture 52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289568" y="2230327"/>
                <a:ext cx="250839" cy="473910"/>
              </a:xfrm>
              <a:prstGeom prst="rect">
                <a:avLst/>
              </a:prstGeom>
            </p:spPr>
          </p:pic>
          <p:pic>
            <p:nvPicPr>
              <p:cNvPr id="54" name="Picture 53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592539" y="2230327"/>
                <a:ext cx="250839" cy="473910"/>
              </a:xfrm>
              <a:prstGeom prst="rect">
                <a:avLst/>
              </a:prstGeom>
            </p:spPr>
          </p:pic>
          <p:cxnSp>
            <p:nvCxnSpPr>
              <p:cNvPr id="55" name="Straight Connector 54"/>
              <p:cNvCxnSpPr/>
              <p:nvPr/>
            </p:nvCxnSpPr>
            <p:spPr>
              <a:xfrm>
                <a:off x="5540407" y="2467282"/>
                <a:ext cx="52132" cy="0"/>
              </a:xfrm>
              <a:prstGeom prst="line">
                <a:avLst/>
              </a:prstGeom>
              <a:ln w="19050">
                <a:solidFill>
                  <a:schemeClr val="tx1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6" name="Group 55"/>
              <p:cNvGrpSpPr/>
              <p:nvPr/>
            </p:nvGrpSpPr>
            <p:grpSpPr>
              <a:xfrm>
                <a:off x="5409892" y="2681840"/>
                <a:ext cx="317500" cy="84870"/>
                <a:chOff x="5409892" y="2681840"/>
                <a:chExt cx="317500" cy="84870"/>
              </a:xfrm>
            </p:grpSpPr>
            <p:cxnSp>
              <p:nvCxnSpPr>
                <p:cNvPr id="57" name="Straight Connector 56"/>
                <p:cNvCxnSpPr/>
                <p:nvPr/>
              </p:nvCxnSpPr>
              <p:spPr>
                <a:xfrm>
                  <a:off x="5409892" y="2726692"/>
                  <a:ext cx="317500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" name="Straight Connector 57"/>
                <p:cNvCxnSpPr/>
                <p:nvPr/>
              </p:nvCxnSpPr>
              <p:spPr>
                <a:xfrm flipV="1">
                  <a:off x="5415279" y="2682703"/>
                  <a:ext cx="0" cy="43068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Straight Connector 58"/>
                <p:cNvCxnSpPr/>
                <p:nvPr/>
              </p:nvCxnSpPr>
              <p:spPr>
                <a:xfrm flipV="1">
                  <a:off x="5720703" y="2681840"/>
                  <a:ext cx="0" cy="43068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Straight Connector 59"/>
                <p:cNvCxnSpPr/>
                <p:nvPr/>
              </p:nvCxnSpPr>
              <p:spPr>
                <a:xfrm flipV="1">
                  <a:off x="5571478" y="2723642"/>
                  <a:ext cx="0" cy="43068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61" name="Group 60"/>
            <p:cNvGrpSpPr/>
            <p:nvPr/>
          </p:nvGrpSpPr>
          <p:grpSpPr>
            <a:xfrm>
              <a:off x="3015457" y="5113752"/>
              <a:ext cx="1812925" cy="561975"/>
              <a:chOff x="4803776" y="4803775"/>
              <a:chExt cx="1812925" cy="561975"/>
            </a:xfrm>
          </p:grpSpPr>
          <p:pic>
            <p:nvPicPr>
              <p:cNvPr id="62" name="Picture 61" descr="db-gray.png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94401" y="4803775"/>
                <a:ext cx="622300" cy="561975"/>
              </a:xfrm>
              <a:prstGeom prst="rect">
                <a:avLst/>
              </a:prstGeom>
            </p:spPr>
          </p:pic>
          <p:pic>
            <p:nvPicPr>
              <p:cNvPr id="63" name="Picture 62" descr="db-gray.png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00676" y="4803775"/>
                <a:ext cx="622300" cy="561975"/>
              </a:xfrm>
              <a:prstGeom prst="rect">
                <a:avLst/>
              </a:prstGeom>
            </p:spPr>
          </p:pic>
          <p:pic>
            <p:nvPicPr>
              <p:cNvPr id="64" name="Picture 63" descr="db-gray.png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03776" y="4803775"/>
                <a:ext cx="622300" cy="561975"/>
              </a:xfrm>
              <a:prstGeom prst="rect">
                <a:avLst/>
              </a:prstGeom>
            </p:spPr>
          </p:pic>
        </p:grpSp>
      </p:grpSp>
      <p:grpSp>
        <p:nvGrpSpPr>
          <p:cNvPr id="95" name="Group 94"/>
          <p:cNvGrpSpPr/>
          <p:nvPr/>
        </p:nvGrpSpPr>
        <p:grpSpPr>
          <a:xfrm>
            <a:off x="6958050" y="3862757"/>
            <a:ext cx="2201820" cy="1975016"/>
            <a:chOff x="6956462" y="3862757"/>
            <a:chExt cx="2201820" cy="1975016"/>
          </a:xfrm>
        </p:grpSpPr>
        <p:sp>
          <p:nvSpPr>
            <p:cNvPr id="68" name="TextBox 67"/>
            <p:cNvSpPr txBox="1"/>
            <p:nvPr/>
          </p:nvSpPr>
          <p:spPr>
            <a:xfrm>
              <a:off x="6956462" y="3862757"/>
              <a:ext cx="2201820" cy="44445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900" b="1" dirty="0"/>
                <a:t>Schema/Row Consolidation</a:t>
              </a:r>
            </a:p>
          </p:txBody>
        </p:sp>
        <p:grpSp>
          <p:nvGrpSpPr>
            <p:cNvPr id="69" name="Group 68"/>
            <p:cNvGrpSpPr/>
            <p:nvPr/>
          </p:nvGrpSpPr>
          <p:grpSpPr>
            <a:xfrm>
              <a:off x="7440446" y="4111602"/>
              <a:ext cx="1233853" cy="1195339"/>
              <a:chOff x="5289568" y="2230327"/>
              <a:chExt cx="553810" cy="536383"/>
            </a:xfrm>
          </p:grpSpPr>
          <p:pic>
            <p:nvPicPr>
              <p:cNvPr id="70" name="Picture 69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289568" y="2230327"/>
                <a:ext cx="250839" cy="473910"/>
              </a:xfrm>
              <a:prstGeom prst="rect">
                <a:avLst/>
              </a:prstGeom>
            </p:spPr>
          </p:pic>
          <p:pic>
            <p:nvPicPr>
              <p:cNvPr id="71" name="Picture 70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592539" y="2230327"/>
                <a:ext cx="250839" cy="473910"/>
              </a:xfrm>
              <a:prstGeom prst="rect">
                <a:avLst/>
              </a:prstGeom>
            </p:spPr>
          </p:pic>
          <p:cxnSp>
            <p:nvCxnSpPr>
              <p:cNvPr id="72" name="Straight Connector 71"/>
              <p:cNvCxnSpPr/>
              <p:nvPr/>
            </p:nvCxnSpPr>
            <p:spPr>
              <a:xfrm>
                <a:off x="5540407" y="2467282"/>
                <a:ext cx="52132" cy="0"/>
              </a:xfrm>
              <a:prstGeom prst="line">
                <a:avLst/>
              </a:prstGeom>
              <a:ln w="19050">
                <a:solidFill>
                  <a:schemeClr val="tx1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3" name="Group 72"/>
              <p:cNvGrpSpPr/>
              <p:nvPr/>
            </p:nvGrpSpPr>
            <p:grpSpPr>
              <a:xfrm>
                <a:off x="5409892" y="2681840"/>
                <a:ext cx="317500" cy="84870"/>
                <a:chOff x="5409892" y="2681840"/>
                <a:chExt cx="317500" cy="84870"/>
              </a:xfrm>
            </p:grpSpPr>
            <p:cxnSp>
              <p:nvCxnSpPr>
                <p:cNvPr id="74" name="Straight Connector 73"/>
                <p:cNvCxnSpPr/>
                <p:nvPr/>
              </p:nvCxnSpPr>
              <p:spPr>
                <a:xfrm>
                  <a:off x="5409892" y="2726692"/>
                  <a:ext cx="317500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" name="Straight Connector 74"/>
                <p:cNvCxnSpPr/>
                <p:nvPr/>
              </p:nvCxnSpPr>
              <p:spPr>
                <a:xfrm flipV="1">
                  <a:off x="5415279" y="2682703"/>
                  <a:ext cx="0" cy="43068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" name="Straight Connector 75"/>
                <p:cNvCxnSpPr/>
                <p:nvPr/>
              </p:nvCxnSpPr>
              <p:spPr>
                <a:xfrm flipV="1">
                  <a:off x="5720703" y="2681840"/>
                  <a:ext cx="0" cy="43068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Connector 76"/>
                <p:cNvCxnSpPr/>
                <p:nvPr/>
              </p:nvCxnSpPr>
              <p:spPr>
                <a:xfrm flipV="1">
                  <a:off x="5571478" y="2723642"/>
                  <a:ext cx="0" cy="43068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pic>
          <p:nvPicPr>
            <p:cNvPr id="78" name="Picture 77" descr="db-gray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94862" y="5266150"/>
              <a:ext cx="1525022" cy="571623"/>
            </a:xfrm>
            <a:prstGeom prst="rect">
              <a:avLst/>
            </a:prstGeom>
          </p:spPr>
        </p:pic>
      </p:grpSp>
      <p:grpSp>
        <p:nvGrpSpPr>
          <p:cNvPr id="98" name="Group 97"/>
          <p:cNvGrpSpPr/>
          <p:nvPr/>
        </p:nvGrpSpPr>
        <p:grpSpPr>
          <a:xfrm>
            <a:off x="7100596" y="1592822"/>
            <a:ext cx="1761906" cy="1957801"/>
            <a:chOff x="7099008" y="1592821"/>
            <a:chExt cx="1761906" cy="1957801"/>
          </a:xfrm>
        </p:grpSpPr>
        <p:pic>
          <p:nvPicPr>
            <p:cNvPr id="82" name="Picture 81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099008" y="2214949"/>
              <a:ext cx="659026" cy="688231"/>
            </a:xfrm>
            <a:prstGeom prst="rect">
              <a:avLst/>
            </a:prstGeom>
          </p:spPr>
        </p:pic>
        <p:pic>
          <p:nvPicPr>
            <p:cNvPr id="83" name="Picture 8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663762" y="2214948"/>
              <a:ext cx="659026" cy="688231"/>
            </a:xfrm>
            <a:prstGeom prst="rect">
              <a:avLst/>
            </a:prstGeom>
          </p:spPr>
        </p:pic>
        <p:sp>
          <p:nvSpPr>
            <p:cNvPr id="85" name="Rounded Rectangle 84"/>
            <p:cNvSpPr/>
            <p:nvPr/>
          </p:nvSpPr>
          <p:spPr>
            <a:xfrm>
              <a:off x="7159061" y="2776129"/>
              <a:ext cx="1660823" cy="254097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87" name="Oval 86"/>
            <p:cNvSpPr/>
            <p:nvPr/>
          </p:nvSpPr>
          <p:spPr>
            <a:xfrm>
              <a:off x="7358770" y="2836354"/>
              <a:ext cx="138174" cy="133654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88" name="Oval 87"/>
            <p:cNvSpPr/>
            <p:nvPr/>
          </p:nvSpPr>
          <p:spPr>
            <a:xfrm>
              <a:off x="7924852" y="2834568"/>
              <a:ext cx="138174" cy="133654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90" name="Oval 89"/>
            <p:cNvSpPr/>
            <p:nvPr/>
          </p:nvSpPr>
          <p:spPr>
            <a:xfrm>
              <a:off x="8465062" y="2834568"/>
              <a:ext cx="138174" cy="13365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201888" y="1857983"/>
              <a:ext cx="659026" cy="688231"/>
            </a:xfrm>
            <a:prstGeom prst="rect">
              <a:avLst/>
            </a:prstGeom>
          </p:spPr>
        </p:pic>
        <p:sp>
          <p:nvSpPr>
            <p:cNvPr id="93" name="TextBox 92"/>
            <p:cNvSpPr txBox="1"/>
            <p:nvPr/>
          </p:nvSpPr>
          <p:spPr>
            <a:xfrm>
              <a:off x="7159061" y="1592821"/>
              <a:ext cx="1668427" cy="44445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900" b="1" dirty="0"/>
                <a:t>Multitenant</a:t>
              </a:r>
            </a:p>
          </p:txBody>
        </p:sp>
        <p:pic>
          <p:nvPicPr>
            <p:cNvPr id="96" name="Picture 9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159062" y="3167710"/>
              <a:ext cx="382812" cy="382912"/>
            </a:xfrm>
            <a:prstGeom prst="rect">
              <a:avLst/>
            </a:prstGeom>
          </p:spPr>
        </p:pic>
        <p:pic>
          <p:nvPicPr>
            <p:cNvPr id="97" name="Picture 96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662748" y="3175117"/>
              <a:ext cx="1164740" cy="375452"/>
            </a:xfrm>
            <a:prstGeom prst="rect">
              <a:avLst/>
            </a:prstGeom>
          </p:spPr>
        </p:pic>
      </p:grpSp>
      <p:sp>
        <p:nvSpPr>
          <p:cNvPr id="2" name="TextBox 1"/>
          <p:cNvSpPr txBox="1"/>
          <p:nvPr/>
        </p:nvSpPr>
        <p:spPr>
          <a:xfrm>
            <a:off x="8908890" y="6654663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1421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cal Oracle Database Architect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quires memory, processes and database files</a:t>
            </a: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5497" y="2002968"/>
            <a:ext cx="1282725" cy="1270000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5497" y="2002968"/>
            <a:ext cx="1282725" cy="1270000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25497" y="2002968"/>
            <a:ext cx="1282725" cy="1270000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25497" y="2002968"/>
            <a:ext cx="1282725" cy="1270000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6854541" y="2409567"/>
            <a:ext cx="2383442" cy="4381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System Resourc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906148" y="3556745"/>
            <a:ext cx="2400188" cy="1803419"/>
            <a:chOff x="1428792" y="2667558"/>
            <a:chExt cx="1800610" cy="1352564"/>
          </a:xfrm>
        </p:grpSpPr>
        <p:grpSp>
          <p:nvGrpSpPr>
            <p:cNvPr id="12" name="Group 11"/>
            <p:cNvGrpSpPr/>
            <p:nvPr/>
          </p:nvGrpSpPr>
          <p:grpSpPr>
            <a:xfrm>
              <a:off x="1428792" y="2667558"/>
              <a:ext cx="1800610" cy="1352564"/>
              <a:chOff x="503512" y="2667558"/>
              <a:chExt cx="1800610" cy="1352564"/>
            </a:xfrm>
          </p:grpSpPr>
          <p:sp>
            <p:nvSpPr>
              <p:cNvPr id="5" name="Rounded Rectangle 4"/>
              <p:cNvSpPr/>
              <p:nvPr/>
            </p:nvSpPr>
            <p:spPr>
              <a:xfrm>
                <a:off x="503512" y="2667558"/>
                <a:ext cx="1800610" cy="1352564"/>
              </a:xfrm>
              <a:prstGeom prst="roundRect">
                <a:avLst>
                  <a:gd name="adj" fmla="val 8745"/>
                </a:avLst>
              </a:prstGeom>
              <a:solidFill>
                <a:schemeClr val="accent5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dirty="0"/>
                  <a:t>GL</a:t>
                </a:r>
              </a:p>
            </p:txBody>
          </p:sp>
          <p:pic>
            <p:nvPicPr>
              <p:cNvPr id="8" name="Picture 7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398733" y="2804585"/>
                <a:ext cx="750586" cy="241888"/>
              </a:xfrm>
              <a:prstGeom prst="rect">
                <a:avLst/>
              </a:prstGeom>
            </p:spPr>
          </p:pic>
          <p:pic>
            <p:nvPicPr>
              <p:cNvPr id="10" name="Picture 9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578651" y="3094990"/>
                <a:ext cx="448907" cy="448907"/>
              </a:xfrm>
              <a:prstGeom prst="rect">
                <a:avLst/>
              </a:prstGeom>
            </p:spPr>
          </p:pic>
        </p:grpSp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465469" y="3026222"/>
              <a:ext cx="901291" cy="658206"/>
            </a:xfrm>
            <a:prstGeom prst="rect">
              <a:avLst/>
            </a:prstGeom>
          </p:spPr>
        </p:pic>
      </p:grpSp>
      <p:grpSp>
        <p:nvGrpSpPr>
          <p:cNvPr id="42" name="Group 41"/>
          <p:cNvGrpSpPr/>
          <p:nvPr/>
        </p:nvGrpSpPr>
        <p:grpSpPr>
          <a:xfrm>
            <a:off x="4891253" y="3556745"/>
            <a:ext cx="2400188" cy="1803419"/>
            <a:chOff x="1428792" y="2667558"/>
            <a:chExt cx="1800610" cy="1352564"/>
          </a:xfrm>
        </p:grpSpPr>
        <p:grpSp>
          <p:nvGrpSpPr>
            <p:cNvPr id="45" name="Group 44"/>
            <p:cNvGrpSpPr/>
            <p:nvPr/>
          </p:nvGrpSpPr>
          <p:grpSpPr>
            <a:xfrm>
              <a:off x="1428792" y="2667558"/>
              <a:ext cx="1800610" cy="1352564"/>
              <a:chOff x="503512" y="2667558"/>
              <a:chExt cx="1800610" cy="1352564"/>
            </a:xfrm>
          </p:grpSpPr>
          <p:sp>
            <p:nvSpPr>
              <p:cNvPr id="47" name="Rounded Rectangle 46"/>
              <p:cNvSpPr/>
              <p:nvPr/>
            </p:nvSpPr>
            <p:spPr>
              <a:xfrm>
                <a:off x="503512" y="2667558"/>
                <a:ext cx="1800610" cy="1352564"/>
              </a:xfrm>
              <a:prstGeom prst="roundRect">
                <a:avLst>
                  <a:gd name="adj" fmla="val 8745"/>
                </a:avLst>
              </a:prstGeom>
              <a:solidFill>
                <a:schemeClr val="accent5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dirty="0"/>
                  <a:t>OE</a:t>
                </a:r>
              </a:p>
            </p:txBody>
          </p:sp>
          <p:pic>
            <p:nvPicPr>
              <p:cNvPr id="48" name="Picture 47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398733" y="2804585"/>
                <a:ext cx="750586" cy="241888"/>
              </a:xfrm>
              <a:prstGeom prst="rect">
                <a:avLst/>
              </a:prstGeom>
            </p:spPr>
          </p:pic>
          <p:pic>
            <p:nvPicPr>
              <p:cNvPr id="49" name="Picture 48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578651" y="3094990"/>
                <a:ext cx="448907" cy="448907"/>
              </a:xfrm>
              <a:prstGeom prst="rect">
                <a:avLst/>
              </a:prstGeom>
            </p:spPr>
          </p:pic>
        </p:grpSp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465469" y="3026222"/>
              <a:ext cx="901291" cy="658206"/>
            </a:xfrm>
            <a:prstGeom prst="rect">
              <a:avLst/>
            </a:prstGeom>
          </p:spPr>
        </p:pic>
      </p:grpSp>
      <p:grpSp>
        <p:nvGrpSpPr>
          <p:cNvPr id="50" name="Group 49"/>
          <p:cNvGrpSpPr/>
          <p:nvPr/>
        </p:nvGrpSpPr>
        <p:grpSpPr>
          <a:xfrm>
            <a:off x="7837776" y="3542780"/>
            <a:ext cx="2400188" cy="1803419"/>
            <a:chOff x="1428792" y="2667558"/>
            <a:chExt cx="1800610" cy="1352564"/>
          </a:xfrm>
        </p:grpSpPr>
        <p:grpSp>
          <p:nvGrpSpPr>
            <p:cNvPr id="51" name="Group 50"/>
            <p:cNvGrpSpPr/>
            <p:nvPr/>
          </p:nvGrpSpPr>
          <p:grpSpPr>
            <a:xfrm>
              <a:off x="1428792" y="2667558"/>
              <a:ext cx="1800610" cy="1352564"/>
              <a:chOff x="503512" y="2667558"/>
              <a:chExt cx="1800610" cy="1352564"/>
            </a:xfrm>
          </p:grpSpPr>
          <p:sp>
            <p:nvSpPr>
              <p:cNvPr id="53" name="Rounded Rectangle 52"/>
              <p:cNvSpPr/>
              <p:nvPr/>
            </p:nvSpPr>
            <p:spPr>
              <a:xfrm>
                <a:off x="503512" y="2667558"/>
                <a:ext cx="1800610" cy="1352564"/>
              </a:xfrm>
              <a:prstGeom prst="roundRect">
                <a:avLst>
                  <a:gd name="adj" fmla="val 8745"/>
                </a:avLst>
              </a:prstGeom>
              <a:solidFill>
                <a:schemeClr val="accent5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dirty="0"/>
                  <a:t>AP</a:t>
                </a:r>
              </a:p>
            </p:txBody>
          </p:sp>
          <p:pic>
            <p:nvPicPr>
              <p:cNvPr id="54" name="Picture 53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398733" y="2804585"/>
                <a:ext cx="750586" cy="241888"/>
              </a:xfrm>
              <a:prstGeom prst="rect">
                <a:avLst/>
              </a:prstGeom>
            </p:spPr>
          </p:pic>
          <p:pic>
            <p:nvPicPr>
              <p:cNvPr id="55" name="Picture 54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578651" y="3094990"/>
                <a:ext cx="448907" cy="448907"/>
              </a:xfrm>
              <a:prstGeom prst="rect">
                <a:avLst/>
              </a:prstGeom>
            </p:spPr>
          </p:pic>
        </p:grpSp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465469" y="3026222"/>
              <a:ext cx="901291" cy="6582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3531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0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>
            <a:grpSpLocks noChangeAspect="1"/>
          </p:cNvGrpSpPr>
          <p:nvPr/>
        </p:nvGrpSpPr>
        <p:grpSpPr>
          <a:xfrm>
            <a:off x="5072362" y="3995626"/>
            <a:ext cx="1862182" cy="1399180"/>
            <a:chOff x="503512" y="2667558"/>
            <a:chExt cx="1800610" cy="1352564"/>
          </a:xfrm>
        </p:grpSpPr>
        <p:sp>
          <p:nvSpPr>
            <p:cNvPr id="27" name="Rounded Rectangle 26"/>
            <p:cNvSpPr/>
            <p:nvPr/>
          </p:nvSpPr>
          <p:spPr>
            <a:xfrm>
              <a:off x="503512" y="2667558"/>
              <a:ext cx="1800610" cy="1352564"/>
            </a:xfrm>
            <a:prstGeom prst="roundRect">
              <a:avLst>
                <a:gd name="adj" fmla="val 8745"/>
              </a:avLst>
            </a:prstGeom>
            <a:solidFill>
              <a:schemeClr val="accent5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/>
                <a:t>       AP</a:t>
              </a:r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8733" y="2804585"/>
              <a:ext cx="750586" cy="241888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78651" y="3094990"/>
              <a:ext cx="448907" cy="448907"/>
            </a:xfrm>
            <a:prstGeom prst="rect">
              <a:avLst/>
            </a:prstGeom>
          </p:spPr>
        </p:pic>
      </p:grpSp>
      <p:grpSp>
        <p:nvGrpSpPr>
          <p:cNvPr id="13" name="Group 12"/>
          <p:cNvGrpSpPr>
            <a:grpSpLocks noChangeAspect="1"/>
          </p:cNvGrpSpPr>
          <p:nvPr/>
        </p:nvGrpSpPr>
        <p:grpSpPr>
          <a:xfrm>
            <a:off x="2890809" y="3992258"/>
            <a:ext cx="1862182" cy="1399179"/>
            <a:chOff x="503511" y="2667557"/>
            <a:chExt cx="1800610" cy="1352565"/>
          </a:xfrm>
        </p:grpSpPr>
        <p:sp>
          <p:nvSpPr>
            <p:cNvPr id="14" name="Rounded Rectangle 13"/>
            <p:cNvSpPr/>
            <p:nvPr/>
          </p:nvSpPr>
          <p:spPr>
            <a:xfrm>
              <a:off x="503511" y="2667557"/>
              <a:ext cx="1800610" cy="1352565"/>
            </a:xfrm>
            <a:prstGeom prst="roundRect">
              <a:avLst>
                <a:gd name="adj" fmla="val 8745"/>
              </a:avLst>
            </a:prstGeom>
            <a:solidFill>
              <a:schemeClr val="accent5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/>
                <a:t>          OE</a:t>
              </a:r>
            </a:p>
          </p:txBody>
        </p:sp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8733" y="2804585"/>
              <a:ext cx="750586" cy="241888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78651" y="3094990"/>
              <a:ext cx="448907" cy="448907"/>
            </a:xfrm>
            <a:prstGeom prst="rect">
              <a:avLst/>
            </a:prstGeom>
          </p:spPr>
        </p:pic>
      </p:grpSp>
      <p:grpSp>
        <p:nvGrpSpPr>
          <p:cNvPr id="12" name="Group 11"/>
          <p:cNvGrpSpPr>
            <a:grpSpLocks noChangeAspect="1"/>
          </p:cNvGrpSpPr>
          <p:nvPr/>
        </p:nvGrpSpPr>
        <p:grpSpPr>
          <a:xfrm>
            <a:off x="730643" y="3992258"/>
            <a:ext cx="1862182" cy="1399179"/>
            <a:chOff x="503512" y="2667558"/>
            <a:chExt cx="1800610" cy="1352564"/>
          </a:xfrm>
        </p:grpSpPr>
        <p:sp>
          <p:nvSpPr>
            <p:cNvPr id="5" name="Rounded Rectangle 4"/>
            <p:cNvSpPr/>
            <p:nvPr/>
          </p:nvSpPr>
          <p:spPr>
            <a:xfrm>
              <a:off x="503512" y="2667558"/>
              <a:ext cx="1800610" cy="1352564"/>
            </a:xfrm>
            <a:prstGeom prst="roundRect">
              <a:avLst>
                <a:gd name="adj" fmla="val 8745"/>
              </a:avLst>
            </a:prstGeom>
            <a:solidFill>
              <a:schemeClr val="accent5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/>
                <a:t>        GL</a:t>
              </a: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8733" y="2804585"/>
              <a:ext cx="750586" cy="241888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78651" y="3094990"/>
              <a:ext cx="448907" cy="448907"/>
            </a:xfrm>
            <a:prstGeom prst="rect">
              <a:avLst/>
            </a:prstGeom>
          </p:spPr>
        </p:pic>
      </p:grpSp>
      <p:pic>
        <p:nvPicPr>
          <p:cNvPr id="49" name="Picture 4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25497" y="2002968"/>
            <a:ext cx="1282725" cy="1270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tenant Architect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emory and processes required at container level only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91656" y="3118050"/>
            <a:ext cx="4091693" cy="4092759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75333" y="5597136"/>
            <a:ext cx="584429" cy="584581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1385" y="5597136"/>
            <a:ext cx="1813506" cy="584581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25465" y="2002968"/>
            <a:ext cx="1282725" cy="1270000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25497" y="2002968"/>
            <a:ext cx="1282725" cy="1270000"/>
          </a:xfrm>
          <a:prstGeom prst="rect">
            <a:avLst/>
          </a:prstGeom>
        </p:spPr>
      </p:pic>
      <p:sp>
        <p:nvSpPr>
          <p:cNvPr id="41" name="TextBox 40"/>
          <p:cNvSpPr txBox="1"/>
          <p:nvPr/>
        </p:nvSpPr>
        <p:spPr>
          <a:xfrm>
            <a:off x="6854541" y="2409567"/>
            <a:ext cx="2383442" cy="4381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System Resources</a:t>
            </a:r>
          </a:p>
        </p:txBody>
      </p:sp>
      <p:sp>
        <p:nvSpPr>
          <p:cNvPr id="25" name="Oval 24"/>
          <p:cNvSpPr/>
          <p:nvPr/>
        </p:nvSpPr>
        <p:spPr>
          <a:xfrm>
            <a:off x="8229939" y="5156148"/>
            <a:ext cx="168441" cy="168485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43" name="Oval 42"/>
          <p:cNvSpPr/>
          <p:nvPr/>
        </p:nvSpPr>
        <p:spPr>
          <a:xfrm>
            <a:off x="11032781" y="5156148"/>
            <a:ext cx="168441" cy="168485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44" name="Oval 43"/>
          <p:cNvSpPr/>
          <p:nvPr/>
        </p:nvSpPr>
        <p:spPr>
          <a:xfrm>
            <a:off x="9634719" y="5156148"/>
            <a:ext cx="168441" cy="168485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45" name="TextBox 44"/>
          <p:cNvSpPr txBox="1"/>
          <p:nvPr/>
        </p:nvSpPr>
        <p:spPr>
          <a:xfrm>
            <a:off x="8000073" y="3634164"/>
            <a:ext cx="622506" cy="34542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GL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9406557" y="3634164"/>
            <a:ext cx="622506" cy="34542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OE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10763639" y="3634164"/>
            <a:ext cx="622506" cy="34542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AP</a:t>
            </a:r>
          </a:p>
        </p:txBody>
      </p:sp>
      <p:pic>
        <p:nvPicPr>
          <p:cNvPr id="50" name="Picture 4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25497" y="2002968"/>
            <a:ext cx="1282725" cy="1270000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93790" y="4297628"/>
            <a:ext cx="1511353" cy="1073563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936671" y="4309509"/>
            <a:ext cx="1201408" cy="858520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9151" y="4285745"/>
            <a:ext cx="1511353" cy="1073563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10645" y="4280777"/>
            <a:ext cx="1511353" cy="1073563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769622" y="4297627"/>
            <a:ext cx="1201408" cy="858520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2308" y="4297627"/>
            <a:ext cx="1201408" cy="858520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26453" y="3979589"/>
            <a:ext cx="1201408" cy="858520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23501" y="3979589"/>
            <a:ext cx="1201408" cy="858520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520617" y="3979589"/>
            <a:ext cx="1201408" cy="858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593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3.48873E-6 C 0.04566 -0.15684 0.09149 -0.31336 0.15937 -0.38901 C 0.22708 -0.46465 0.33576 -0.51188 0.40694 -0.45477 C 0.47812 -0.39765 0.55625 -0.11454 0.58611 -0.04662 " pathEditMode="relative" rAng="0" ptsTypes="aaaA">
                                      <p:cBhvr>
                                        <p:cTn id="12" dur="2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9306" y="-255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500"/>
                            </p:stCondLst>
                            <p:childTnLst>
                              <p:par>
                                <p:cTn id="32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6 4.69281E-7 C 0.0283 -0.1624 0.0566 -0.3248 0.11459 -0.40291 C 0.17258 -0.48102 0.28021 -0.52702 0.3481 -0.46805 C 0.41598 -0.40908 0.49271 -0.11825 0.52153 -0.04848 " pathEditMode="relative" ptsTypes="aaaA">
                                      <p:cBhvr>
                                        <p:cTn id="36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50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6000"/>
                            </p:stCondLst>
                            <p:childTnLst>
                              <p:par>
                                <p:cTn id="50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7000"/>
                            </p:stCondLst>
                            <p:childTnLst>
                              <p:par>
                                <p:cTn id="56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7000"/>
                            </p:stCondLst>
                            <p:childTnLst>
                              <p:par>
                                <p:cTn id="59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2.05619E-6 C 0.0184 -0.14912 0.0368 -0.29793 0.09305 -0.36061 C 0.1493 -0.42328 0.27673 -0.4276 0.33767 -0.37543 C 0.39861 -0.32325 0.44062 -0.1025 0.4585 -0.04847 " pathEditMode="relative" ptsTypes="aaaA">
                                      <p:cBhvr>
                                        <p:cTn id="60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9000"/>
                            </p:stCondLst>
                            <p:childTnLst>
                              <p:par>
                                <p:cTn id="6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9000"/>
                            </p:stCondLst>
                            <p:childTnLst>
                              <p:par>
                                <p:cTn id="65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43" grpId="0" animBg="1"/>
      <p:bldP spid="44" grpId="0" animBg="1"/>
      <p:bldP spid="45" grpId="0"/>
      <p:bldP spid="47" grpId="0"/>
      <p:bldP spid="4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7691656" y="3118050"/>
            <a:ext cx="4091693" cy="4092759"/>
            <a:chOff x="5769052" y="2338536"/>
            <a:chExt cx="3069569" cy="3069569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769052" y="2338536"/>
              <a:ext cx="3069569" cy="3069569"/>
            </a:xfrm>
            <a:prstGeom prst="rect">
              <a:avLst/>
            </a:prstGeom>
          </p:spPr>
        </p:pic>
        <p:sp>
          <p:nvSpPr>
            <p:cNvPr id="25" name="Oval 24"/>
            <p:cNvSpPr/>
            <p:nvPr/>
          </p:nvSpPr>
          <p:spPr>
            <a:xfrm>
              <a:off x="6172870" y="3867110"/>
              <a:ext cx="126364" cy="126364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43" name="Oval 42"/>
            <p:cNvSpPr/>
            <p:nvPr/>
          </p:nvSpPr>
          <p:spPr>
            <a:xfrm>
              <a:off x="8275549" y="3867110"/>
              <a:ext cx="126364" cy="126364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44" name="Oval 43"/>
            <p:cNvSpPr/>
            <p:nvPr/>
          </p:nvSpPr>
          <p:spPr>
            <a:xfrm>
              <a:off x="7226729" y="3867110"/>
              <a:ext cx="126364" cy="126364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6000426" y="2725622"/>
              <a:ext cx="467001" cy="25907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/>
                <a:t>GL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7055564" y="2725622"/>
              <a:ext cx="467001" cy="25907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/>
                <a:t>OE</a:t>
              </a: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8073640" y="2725622"/>
              <a:ext cx="467001" cy="25907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/>
                <a:t>AP</a:t>
              </a:r>
            </a:p>
          </p:txBody>
        </p:sp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95157" y="2984692"/>
              <a:ext cx="901291" cy="643890"/>
            </a:xfrm>
            <a:prstGeom prst="rect">
              <a:avLst/>
            </a:prstGeom>
          </p:spPr>
        </p:pic>
        <p:pic>
          <p:nvPicPr>
            <p:cNvPr id="61" name="Picture 6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43216" y="2984692"/>
              <a:ext cx="901291" cy="643890"/>
            </a:xfrm>
            <a:prstGeom prst="rect">
              <a:avLst/>
            </a:prstGeom>
          </p:spPr>
        </p:pic>
        <p:pic>
          <p:nvPicPr>
            <p:cNvPr id="62" name="Picture 6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891326" y="2984692"/>
              <a:ext cx="901291" cy="643890"/>
            </a:xfrm>
            <a:prstGeom prst="rect">
              <a:avLst/>
            </a:prstGeom>
          </p:spPr>
        </p:pic>
      </p:grpSp>
      <p:pic>
        <p:nvPicPr>
          <p:cNvPr id="49" name="Picture 4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25497" y="2002968"/>
            <a:ext cx="1282725" cy="1270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tenant Architect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ore efficient utilization of system resources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854541" y="2409567"/>
            <a:ext cx="2383442" cy="4381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System Resources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75333" y="5597136"/>
            <a:ext cx="584429" cy="584581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61385" y="5597136"/>
            <a:ext cx="1813506" cy="584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379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58025E-6 L -0.29809 -0.00371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913" y="-185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0" dur="2000" fill="hold"/>
                                        <p:tgtEl>
                                          <p:spTgt spid="1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tenant Architect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mponents of a Multitenant Container Database (CDB)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3175" y="2830060"/>
            <a:ext cx="4026891" cy="4027940"/>
          </a:xfrm>
          <a:prstGeom prst="rect">
            <a:avLst/>
          </a:prstGeom>
        </p:spPr>
      </p:pic>
      <p:sp>
        <p:nvSpPr>
          <p:cNvPr id="19" name="Oval 18"/>
          <p:cNvSpPr/>
          <p:nvPr/>
        </p:nvSpPr>
        <p:spPr>
          <a:xfrm>
            <a:off x="5579581" y="4835883"/>
            <a:ext cx="165774" cy="165817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21" name="Oval 20"/>
          <p:cNvSpPr/>
          <p:nvPr/>
        </p:nvSpPr>
        <p:spPr>
          <a:xfrm>
            <a:off x="6955464" y="4835883"/>
            <a:ext cx="165774" cy="165817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284" y="3691066"/>
            <a:ext cx="1511353" cy="1073563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56197" y="3706685"/>
            <a:ext cx="1201408" cy="858520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46928" y="3702054"/>
            <a:ext cx="1201408" cy="858520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69129" y="3691066"/>
            <a:ext cx="1511353" cy="1073563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38334" y="3697180"/>
            <a:ext cx="1511353" cy="1073563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09483" y="3708168"/>
            <a:ext cx="1201408" cy="858520"/>
          </a:xfrm>
          <a:prstGeom prst="rect">
            <a:avLst/>
          </a:prstGeom>
        </p:spPr>
      </p:pic>
      <p:sp>
        <p:nvSpPr>
          <p:cNvPr id="31" name="Oval 30"/>
          <p:cNvSpPr/>
          <p:nvPr/>
        </p:nvSpPr>
        <p:spPr>
          <a:xfrm>
            <a:off x="8331319" y="4835347"/>
            <a:ext cx="165774" cy="165817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1216114" y="5410939"/>
            <a:ext cx="2219562" cy="35241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Pluggable Databases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9042571" y="3830040"/>
            <a:ext cx="2224909" cy="1476162"/>
            <a:chOff x="9040982" y="3830040"/>
            <a:chExt cx="2224909" cy="1476162"/>
          </a:xfrm>
        </p:grpSpPr>
        <p:grpSp>
          <p:nvGrpSpPr>
            <p:cNvPr id="33" name="Group 32"/>
            <p:cNvGrpSpPr/>
            <p:nvPr/>
          </p:nvGrpSpPr>
          <p:grpSpPr>
            <a:xfrm>
              <a:off x="9045856" y="3848674"/>
              <a:ext cx="1273188" cy="415498"/>
              <a:chOff x="5494205" y="1942376"/>
              <a:chExt cx="955140" cy="311623"/>
            </a:xfrm>
          </p:grpSpPr>
          <p:sp>
            <p:nvSpPr>
              <p:cNvPr id="47" name="TextBox 46"/>
              <p:cNvSpPr txBox="1"/>
              <p:nvPr/>
            </p:nvSpPr>
            <p:spPr>
              <a:xfrm>
                <a:off x="5826175" y="1942376"/>
                <a:ext cx="623170" cy="31162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100" dirty="0">
                    <a:solidFill>
                      <a:schemeClr val="tx2"/>
                    </a:solidFill>
                  </a:rPr>
                  <a:t>PDBs</a:t>
                </a:r>
              </a:p>
            </p:txBody>
          </p:sp>
          <p:cxnSp>
            <p:nvCxnSpPr>
              <p:cNvPr id="48" name="Straight Arrow Connector 47"/>
              <p:cNvCxnSpPr/>
              <p:nvPr/>
            </p:nvCxnSpPr>
            <p:spPr>
              <a:xfrm flipH="1" flipV="1">
                <a:off x="5494205" y="2131128"/>
                <a:ext cx="361938" cy="1742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/>
          </p:nvGrpSpPr>
          <p:grpSpPr>
            <a:xfrm>
              <a:off x="9040982" y="4688738"/>
              <a:ext cx="1194191" cy="415498"/>
              <a:chOff x="5490550" y="2572423"/>
              <a:chExt cx="895877" cy="311623"/>
            </a:xfrm>
          </p:grpSpPr>
          <p:sp>
            <p:nvSpPr>
              <p:cNvPr id="45" name="TextBox 44"/>
              <p:cNvSpPr txBox="1"/>
              <p:nvPr/>
            </p:nvSpPr>
            <p:spPr>
              <a:xfrm>
                <a:off x="5820403" y="2572423"/>
                <a:ext cx="566024" cy="31162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100" dirty="0">
                    <a:solidFill>
                      <a:schemeClr val="tx2"/>
                    </a:solidFill>
                  </a:rPr>
                  <a:t>Root</a:t>
                </a:r>
              </a:p>
            </p:txBody>
          </p:sp>
          <p:cxnSp>
            <p:nvCxnSpPr>
              <p:cNvPr id="46" name="Straight Arrow Connector 45"/>
              <p:cNvCxnSpPr/>
              <p:nvPr/>
            </p:nvCxnSpPr>
            <p:spPr>
              <a:xfrm flipH="1">
                <a:off x="5490550" y="2746275"/>
                <a:ext cx="365595" cy="5455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6" name="TextBox 35"/>
            <p:cNvSpPr txBox="1"/>
            <p:nvPr/>
          </p:nvSpPr>
          <p:spPr>
            <a:xfrm>
              <a:off x="10552234" y="4340517"/>
              <a:ext cx="713657" cy="4154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100" dirty="0">
                  <a:solidFill>
                    <a:schemeClr val="tx2"/>
                  </a:solidFill>
                </a:rPr>
                <a:t>CDB</a:t>
              </a:r>
            </a:p>
          </p:txBody>
        </p:sp>
        <p:sp>
          <p:nvSpPr>
            <p:cNvPr id="13" name="Right Brace 12"/>
            <p:cNvSpPr/>
            <p:nvPr/>
          </p:nvSpPr>
          <p:spPr>
            <a:xfrm>
              <a:off x="10239777" y="3830040"/>
              <a:ext cx="292565" cy="1476162"/>
            </a:xfrm>
            <a:prstGeom prst="rightBrace">
              <a:avLst/>
            </a:prstGeom>
            <a:ln w="28575" cmpd="sng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5380512" y="5401221"/>
            <a:ext cx="3323361" cy="3802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Multitenant Container Databas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039090" y="2454256"/>
            <a:ext cx="3967210" cy="856135"/>
            <a:chOff x="5037502" y="2454255"/>
            <a:chExt cx="3967210" cy="856135"/>
          </a:xfrm>
        </p:grpSpPr>
        <p:sp>
          <p:nvSpPr>
            <p:cNvPr id="26" name="Right Brace 25"/>
            <p:cNvSpPr/>
            <p:nvPr/>
          </p:nvSpPr>
          <p:spPr>
            <a:xfrm rot="16200000">
              <a:off x="6799939" y="1105618"/>
              <a:ext cx="442335" cy="3967210"/>
            </a:xfrm>
            <a:prstGeom prst="rightBrace">
              <a:avLst/>
            </a:prstGeom>
            <a:ln w="28575" cmpd="sng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5064480" y="2454255"/>
              <a:ext cx="3918390" cy="456605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285750" indent="-285750" algn="ctr">
                <a:lnSpc>
                  <a:spcPct val="90000"/>
                </a:lnSpc>
                <a:buFont typeface="Arial"/>
                <a:buChar char="•"/>
              </a:pPr>
              <a:r>
                <a:rPr lang="en-US" sz="2200" dirty="0"/>
                <a:t>Up to 4k PDBs per CDB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0668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37" presetClass="path" presetSubtype="0" accel="50000" decel="5000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6.91676E-7 2.65864E-6 L 0.10408 -0.20681 C 0.12596 -0.25313 0.15866 -0.2793 0.19291 -0.2793 C 0.2316 -0.2793 0.26286 -0.25313 0.28449 -0.20681 L 0.38882 2.65864E-6 " pathEditMode="relative" rAng="0" ptsTypes="FffFF">
                                      <p:cBhvr>
                                        <p:cTn id="14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435" y="-1396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350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3500"/>
                            </p:stCondLst>
                            <p:childTnLst>
                              <p:par>
                                <p:cTn id="1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4000"/>
                            </p:stCondLst>
                            <p:childTnLst>
                              <p:par>
                                <p:cTn id="24" presetID="3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1261E-6 2.08845E-6 L 0.10342 -0.20908 C 0.1253 -0.25585 0.15786 -0.28224 0.19198 -0.28224 C 0.23066 -0.28224 0.26153 -0.25585 0.28341 -0.20908 L 0.38748 2.08845E-6 " pathEditMode="relative" rAng="0" ptsTypes="FffFF">
                                      <p:cBhvr>
                                        <p:cTn id="25" dur="2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367" y="-141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6000"/>
                            </p:stCondLst>
                            <p:childTnLst>
                              <p:par>
                                <p:cTn id="2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6000"/>
                            </p:stCondLst>
                            <p:childTnLst>
                              <p:par>
                                <p:cTn id="30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6500"/>
                            </p:stCondLst>
                            <p:childTnLst>
                              <p:par>
                                <p:cTn id="35" presetID="3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47486E-6 -4.05186E-6 L 0.10355 -0.20537 C 0.12517 -0.25167 0.15773 -0.27737 0.19172 -0.27737 C 0.2304 -0.27737 0.2614 -0.25167 0.28302 -0.20537 L 0.38721 -4.05186E-6 " pathEditMode="relative" rAng="0" ptsTypes="FffFF">
                                      <p:cBhvr>
                                        <p:cTn id="36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354" y="-138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850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8500"/>
                            </p:stCondLst>
                            <p:childTnLst>
                              <p:par>
                                <p:cTn id="41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900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1" grpId="0" animBg="1"/>
      <p:bldP spid="31" grpId="0" animBg="1"/>
      <p:bldP spid="5" grpId="0"/>
      <p:bldP spid="1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ght Master ">
  <a:themeElements>
    <a:clrScheme name="Oracle NEW">
      <a:dk1>
        <a:srgbClr val="4E3629"/>
      </a:dk1>
      <a:lt1>
        <a:sysClr val="window" lastClr="FFFFFF"/>
      </a:lt1>
      <a:dk2>
        <a:srgbClr val="312D2A"/>
      </a:dk2>
      <a:lt2>
        <a:srgbClr val="E0E2E1"/>
      </a:lt2>
      <a:accent1>
        <a:srgbClr val="D1350F"/>
      </a:accent1>
      <a:accent2>
        <a:srgbClr val="E6AC58"/>
      </a:accent2>
      <a:accent3>
        <a:srgbClr val="94AFAF"/>
      </a:accent3>
      <a:accent4>
        <a:srgbClr val="2B6242"/>
      </a:accent4>
      <a:accent5>
        <a:srgbClr val="2C5967"/>
      </a:accent5>
      <a:accent6>
        <a:srgbClr val="AE562C"/>
      </a:accent6>
      <a:hlink>
        <a:srgbClr val="2C5967"/>
      </a:hlink>
      <a:folHlink>
        <a:srgbClr val="F5B642"/>
      </a:folHlink>
    </a:clrScheme>
    <a:fontScheme name="Oracle">
      <a:majorFont>
        <a:latin typeface="Georgia"/>
        <a:ea typeface=""/>
        <a:cs typeface=""/>
      </a:majorFont>
      <a:minorFont>
        <a:latin typeface="Oracl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F48E8993-8945-8249-A97C-D5918BD47C01}" vid="{9D9BFA85-61A8-6948-BAAE-1DEE9550C40B}"/>
    </a:ext>
  </a:extLst>
</a:theme>
</file>

<file path=ppt/theme/theme2.xml><?xml version="1.0" encoding="utf-8"?>
<a:theme xmlns:a="http://schemas.openxmlformats.org/drawingml/2006/main" name="Dark Master">
  <a:themeElements>
    <a:clrScheme name="Oracle NEW">
      <a:dk1>
        <a:srgbClr val="4E3629"/>
      </a:dk1>
      <a:lt1>
        <a:sysClr val="window" lastClr="FFFFFF"/>
      </a:lt1>
      <a:dk2>
        <a:srgbClr val="312D2A"/>
      </a:dk2>
      <a:lt2>
        <a:srgbClr val="E0E2E1"/>
      </a:lt2>
      <a:accent1>
        <a:srgbClr val="D1350F"/>
      </a:accent1>
      <a:accent2>
        <a:srgbClr val="E6AC58"/>
      </a:accent2>
      <a:accent3>
        <a:srgbClr val="94AFAF"/>
      </a:accent3>
      <a:accent4>
        <a:srgbClr val="2B6242"/>
      </a:accent4>
      <a:accent5>
        <a:srgbClr val="2C5967"/>
      </a:accent5>
      <a:accent6>
        <a:srgbClr val="AE562C"/>
      </a:accent6>
      <a:hlink>
        <a:srgbClr val="2C5967"/>
      </a:hlink>
      <a:folHlink>
        <a:srgbClr val="F5B642"/>
      </a:folHlink>
    </a:clrScheme>
    <a:fontScheme name="Oracle">
      <a:majorFont>
        <a:latin typeface="Georgia"/>
        <a:ea typeface=""/>
        <a:cs typeface=""/>
      </a:majorFont>
      <a:minorFont>
        <a:latin typeface="Oracl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F48E8993-8945-8249-A97C-D5918BD47C01}" vid="{C590595C-AE5D-F647-A2D5-3B79DD71608B}"/>
    </a:ext>
  </a:extLst>
</a:theme>
</file>

<file path=ppt/theme/theme3.xml><?xml version="1.0" encoding="utf-8"?>
<a:theme xmlns:a="http://schemas.openxmlformats.org/drawingml/2006/main" name="1_Light Master ">
  <a:themeElements>
    <a:clrScheme name="Oracle NEW">
      <a:dk1>
        <a:srgbClr val="4E3629"/>
      </a:dk1>
      <a:lt1>
        <a:sysClr val="window" lastClr="FFFFFF"/>
      </a:lt1>
      <a:dk2>
        <a:srgbClr val="312D2A"/>
      </a:dk2>
      <a:lt2>
        <a:srgbClr val="E0E2E1"/>
      </a:lt2>
      <a:accent1>
        <a:srgbClr val="D1350F"/>
      </a:accent1>
      <a:accent2>
        <a:srgbClr val="E6AC58"/>
      </a:accent2>
      <a:accent3>
        <a:srgbClr val="94AFAF"/>
      </a:accent3>
      <a:accent4>
        <a:srgbClr val="2B6242"/>
      </a:accent4>
      <a:accent5>
        <a:srgbClr val="2C5967"/>
      </a:accent5>
      <a:accent6>
        <a:srgbClr val="AE562C"/>
      </a:accent6>
      <a:hlink>
        <a:srgbClr val="2C5967"/>
      </a:hlink>
      <a:folHlink>
        <a:srgbClr val="F5B642"/>
      </a:folHlink>
    </a:clrScheme>
    <a:fontScheme name="Oracle">
      <a:majorFont>
        <a:latin typeface="Georgia"/>
        <a:ea typeface=""/>
        <a:cs typeface=""/>
      </a:majorFont>
      <a:minorFont>
        <a:latin typeface="Oracl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F48E8993-8945-8249-A97C-D5918BD47C01}" vid="{9D9BFA85-61A8-6948-BAAE-1DEE9550C40B}"/>
    </a:ext>
  </a:extLst>
</a:theme>
</file>

<file path=ppt/theme/theme4.xml><?xml version="1.0" encoding="utf-8"?>
<a:theme xmlns:a="http://schemas.openxmlformats.org/drawingml/2006/main" name="Light Master">
  <a:themeElements>
    <a:clrScheme name="Redwood v1_1">
      <a:dk1>
        <a:srgbClr val="312D2A"/>
      </a:dk1>
      <a:lt1>
        <a:srgbClr val="FCFBFA"/>
      </a:lt1>
      <a:dk2>
        <a:srgbClr val="312D2A"/>
      </a:dk2>
      <a:lt2>
        <a:srgbClr val="FCFBFA"/>
      </a:lt2>
      <a:accent1>
        <a:srgbClr val="C74634"/>
      </a:accent1>
      <a:accent2>
        <a:srgbClr val="FACD62"/>
      </a:accent2>
      <a:accent3>
        <a:srgbClr val="94AFAF"/>
      </a:accent3>
      <a:accent4>
        <a:srgbClr val="2B6242"/>
      </a:accent4>
      <a:accent5>
        <a:srgbClr val="AE562C"/>
      </a:accent5>
      <a:accent6>
        <a:srgbClr val="759C6C"/>
      </a:accent6>
      <a:hlink>
        <a:srgbClr val="2C5967"/>
      </a:hlink>
      <a:folHlink>
        <a:srgbClr val="FACD62"/>
      </a:folHlink>
    </a:clrScheme>
    <a:fontScheme name="Oracle">
      <a:majorFont>
        <a:latin typeface="Georgia"/>
        <a:ea typeface=""/>
        <a:cs typeface=""/>
      </a:majorFont>
      <a:minorFont>
        <a:latin typeface="Oracl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Ocean">
      <a:srgbClr val="2C5967"/>
    </a:custClr>
    <a:custClr name="Surf">
      <a:srgbClr val="41817E"/>
    </a:custClr>
    <a:custClr name="Sand">
      <a:srgbClr val="E5DBBE"/>
    </a:custClr>
    <a:custClr name="Pebble">
      <a:srgbClr val="8B8580"/>
    </a:custClr>
    <a:custClr name="Granite">
      <a:srgbClr val="67605B"/>
    </a:custClr>
  </a:custClrLst>
  <a:extLst>
    <a:ext uri="{05A4C25C-085E-4340-85A3-A5531E510DB2}">
      <thm15:themeFamily xmlns:thm15="http://schemas.microsoft.com/office/thememl/2012/main" name="Presentation37" id="{7D87ED77-4C96-4945-9B63-ACAF0C96A459}" vid="{F17A2643-0AED-654A-A085-FBB799BBF0B2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ight Master </Template>
  <TotalTime>3294</TotalTime>
  <Words>6697</Words>
  <Application>Microsoft Macintosh PowerPoint</Application>
  <PresentationFormat>Panorámica</PresentationFormat>
  <Paragraphs>956</Paragraphs>
  <Slides>47</Slides>
  <Notes>36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7</vt:i4>
      </vt:variant>
    </vt:vector>
  </HeadingPairs>
  <TitlesOfParts>
    <vt:vector size="62" baseType="lpstr">
      <vt:lpstr>Arial</vt:lpstr>
      <vt:lpstr>Calibri</vt:lpstr>
      <vt:lpstr>Courier</vt:lpstr>
      <vt:lpstr>Courier New</vt:lpstr>
      <vt:lpstr>Georgia</vt:lpstr>
      <vt:lpstr>Oracle Sans</vt:lpstr>
      <vt:lpstr>Oracle Sans Light</vt:lpstr>
      <vt:lpstr>System Font Regular</vt:lpstr>
      <vt:lpstr>Times New Roman</vt:lpstr>
      <vt:lpstr>Wingdings</vt:lpstr>
      <vt:lpstr>Light Master </vt:lpstr>
      <vt:lpstr>Dark Master</vt:lpstr>
      <vt:lpstr>1_Light Master </vt:lpstr>
      <vt:lpstr>Light Master</vt:lpstr>
      <vt:lpstr>think-cell Slide</vt:lpstr>
      <vt:lpstr>Oracle Database MultiTenant/MultiModel/InMemory</vt:lpstr>
      <vt:lpstr>Safe harbor statement</vt:lpstr>
      <vt:lpstr>Overview</vt:lpstr>
      <vt:lpstr>Overview</vt:lpstr>
      <vt:lpstr>Comparing Database Consolidation Architectures</vt:lpstr>
      <vt:lpstr>Classical Oracle Database Architecture</vt:lpstr>
      <vt:lpstr>Multitenant Architecture</vt:lpstr>
      <vt:lpstr>Multitenant Architecture</vt:lpstr>
      <vt:lpstr>Multitenant Architecture</vt:lpstr>
      <vt:lpstr>Manage Many Databases as One</vt:lpstr>
      <vt:lpstr>Manage Many Databases as One with Multitenant</vt:lpstr>
      <vt:lpstr>Simplified Patching and Upgrades</vt:lpstr>
      <vt:lpstr>Simplified Patching and Upgrades</vt:lpstr>
      <vt:lpstr>Multitenant</vt:lpstr>
      <vt:lpstr>Application Container</vt:lpstr>
      <vt:lpstr>Multitenant for Provisioning</vt:lpstr>
      <vt:lpstr>PDB Hot Clone</vt:lpstr>
      <vt:lpstr>Refreshable PDB</vt:lpstr>
      <vt:lpstr>Online PDB Relocation</vt:lpstr>
      <vt:lpstr>Advantages of Multitenant Architecture</vt:lpstr>
      <vt:lpstr>Overview</vt:lpstr>
      <vt:lpstr> What is JSON? </vt:lpstr>
      <vt:lpstr> What is JSON? </vt:lpstr>
      <vt:lpstr> Storing JSON in the Oracle Database </vt:lpstr>
      <vt:lpstr> Storing JSON in the Oracle Database </vt:lpstr>
      <vt:lpstr> Storing JSON in the Oracle Database </vt:lpstr>
      <vt:lpstr>Oracle Database as a Document Store</vt:lpstr>
      <vt:lpstr>JSON Support in Oracle Database</vt:lpstr>
      <vt:lpstr>Oracle REST Data Services  Serving JSON results from relational data</vt:lpstr>
      <vt:lpstr>Oracle REST Data Services</vt:lpstr>
      <vt:lpstr>ORDS Typical Architecture</vt:lpstr>
      <vt:lpstr>ORDS Standalone Deployments</vt:lpstr>
      <vt:lpstr>SODA: Simple Oracle Document Access</vt:lpstr>
      <vt:lpstr>Overview</vt:lpstr>
      <vt:lpstr>Reduced Overhead</vt:lpstr>
      <vt:lpstr>Row Format Databases vs. Column Format Databases</vt:lpstr>
      <vt:lpstr>Breakthrough: Dual Format Database</vt:lpstr>
      <vt:lpstr>Presentación de PowerPoint</vt:lpstr>
      <vt:lpstr>Oracle In-Memory: Simple to Implement</vt:lpstr>
      <vt:lpstr>Conclusions</vt:lpstr>
      <vt:lpstr>Strategy: Oracle Database as a Document Store</vt:lpstr>
      <vt:lpstr> Oracle Database: A multi-model platform</vt:lpstr>
      <vt:lpstr>Transactions and consistency</vt:lpstr>
      <vt:lpstr>Advanced SQL Engine </vt:lpstr>
      <vt:lpstr>Query Optimizations for JSON</vt:lpstr>
      <vt:lpstr>Presentación de PowerPoint</vt:lpstr>
      <vt:lpstr>Presentación de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ease install fonts before using</dc:title>
  <dc:subject/>
  <dc:creator>Guillermo Best</dc:creator>
  <cp:keywords/>
  <dc:description/>
  <cp:lastModifiedBy>Guillermo Best</cp:lastModifiedBy>
  <cp:revision>53</cp:revision>
  <dcterms:created xsi:type="dcterms:W3CDTF">2019-11-21T22:28:32Z</dcterms:created>
  <dcterms:modified xsi:type="dcterms:W3CDTF">2020-04-13T17:24:2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6186370</vt:lpwstr>
  </property>
  <property fmtid="{D5CDD505-2E9C-101B-9397-08002B2CF9AE}" pid="3" name="NXPowerLiteSettings">
    <vt:lpwstr>C700052003A000</vt:lpwstr>
  </property>
  <property fmtid="{D5CDD505-2E9C-101B-9397-08002B2CF9AE}" pid="4" name="NXPowerLiteVersion">
    <vt:lpwstr>D8.0.4</vt:lpwstr>
  </property>
</Properties>
</file>